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 id="2147483721" r:id="rId6"/>
  </p:sldMasterIdLst>
  <p:notesMasterIdLst>
    <p:notesMasterId r:id="rId24"/>
  </p:notesMasterIdLst>
  <p:handoutMasterIdLst>
    <p:handoutMasterId r:id="rId25"/>
  </p:handoutMasterIdLst>
  <p:sldIdLst>
    <p:sldId id="265" r:id="rId7"/>
    <p:sldId id="259" r:id="rId8"/>
    <p:sldId id="280" r:id="rId9"/>
    <p:sldId id="308" r:id="rId10"/>
    <p:sldId id="303" r:id="rId11"/>
    <p:sldId id="304" r:id="rId12"/>
    <p:sldId id="305" r:id="rId13"/>
    <p:sldId id="306" r:id="rId14"/>
    <p:sldId id="307" r:id="rId15"/>
    <p:sldId id="309" r:id="rId16"/>
    <p:sldId id="292" r:id="rId17"/>
    <p:sldId id="310" r:id="rId18"/>
    <p:sldId id="311" r:id="rId19"/>
    <p:sldId id="312" r:id="rId20"/>
    <p:sldId id="293" r:id="rId21"/>
    <p:sldId id="294" r:id="rId22"/>
    <p:sldId id="295"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788B0E-522E-409D-BEB0-218DE3BF8B27}" v="1" dt="2022-01-24T05:23:37.595"/>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0586" autoAdjust="0"/>
  </p:normalViewPr>
  <p:slideViewPr>
    <p:cSldViewPr snapToGrid="0" showGuides="1">
      <p:cViewPr varScale="1">
        <p:scale>
          <a:sx n="60" d="100"/>
          <a:sy n="60" d="100"/>
        </p:scale>
        <p:origin x="720"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 Naveen Kumar" userId="c31db880-c78b-4414-a46a-beba23b5e86b" providerId="ADAL" clId="{FD788B0E-522E-409D-BEB0-218DE3BF8B27}"/>
    <pc:docChg chg="custSel modSld modMainMaster">
      <pc:chgData name="R, Naveen Kumar" userId="c31db880-c78b-4414-a46a-beba23b5e86b" providerId="ADAL" clId="{FD788B0E-522E-409D-BEB0-218DE3BF8B27}" dt="2022-01-24T05:23:37.771" v="8" actId="27636"/>
      <pc:docMkLst>
        <pc:docMk/>
      </pc:docMkLst>
      <pc:sldChg chg="modSp">
        <pc:chgData name="R, Naveen Kumar" userId="c31db880-c78b-4414-a46a-beba23b5e86b" providerId="ADAL" clId="{FD788B0E-522E-409D-BEB0-218DE3BF8B27}" dt="2022-01-24T05:23:37.595" v="0"/>
        <pc:sldMkLst>
          <pc:docMk/>
          <pc:sldMk cId="0" sldId="259"/>
        </pc:sldMkLst>
        <pc:spChg chg="mod">
          <ac:chgData name="R, Naveen Kumar" userId="c31db880-c78b-4414-a46a-beba23b5e86b" providerId="ADAL" clId="{FD788B0E-522E-409D-BEB0-218DE3BF8B27}" dt="2022-01-24T05:23:37.595" v="0"/>
          <ac:spMkLst>
            <pc:docMk/>
            <pc:sldMk cId="0" sldId="259"/>
            <ac:spMk id="4" creationId="{00000000-0000-0000-0000-000000000000}"/>
          </ac:spMkLst>
        </pc:spChg>
      </pc:sldChg>
      <pc:sldChg chg="modSp mod">
        <pc:chgData name="R, Naveen Kumar" userId="c31db880-c78b-4414-a46a-beba23b5e86b" providerId="ADAL" clId="{FD788B0E-522E-409D-BEB0-218DE3BF8B27}" dt="2022-01-24T05:23:37.691" v="1" actId="27636"/>
        <pc:sldMkLst>
          <pc:docMk/>
          <pc:sldMk cId="0" sldId="265"/>
        </pc:sldMkLst>
        <pc:spChg chg="mod">
          <ac:chgData name="R, Naveen Kumar" userId="c31db880-c78b-4414-a46a-beba23b5e86b" providerId="ADAL" clId="{FD788B0E-522E-409D-BEB0-218DE3BF8B27}" dt="2022-01-24T05:23:37.691" v="1" actId="27636"/>
          <ac:spMkLst>
            <pc:docMk/>
            <pc:sldMk cId="0" sldId="265"/>
            <ac:spMk id="11" creationId="{00000000-0000-0000-0000-000000000000}"/>
          </ac:spMkLst>
        </pc:spChg>
        <pc:spChg chg="mod">
          <ac:chgData name="R, Naveen Kumar" userId="c31db880-c78b-4414-a46a-beba23b5e86b" providerId="ADAL" clId="{FD788B0E-522E-409D-BEB0-218DE3BF8B27}" dt="2022-01-24T05:23:37.595" v="0"/>
          <ac:spMkLst>
            <pc:docMk/>
            <pc:sldMk cId="0" sldId="265"/>
            <ac:spMk id="12" creationId="{00000000-0000-0000-0000-000000000000}"/>
          </ac:spMkLst>
        </pc:spChg>
      </pc:sldChg>
      <pc:sldChg chg="modSp">
        <pc:chgData name="R, Naveen Kumar" userId="c31db880-c78b-4414-a46a-beba23b5e86b" providerId="ADAL" clId="{FD788B0E-522E-409D-BEB0-218DE3BF8B27}" dt="2022-01-24T05:23:37.595" v="0"/>
        <pc:sldMkLst>
          <pc:docMk/>
          <pc:sldMk cId="0" sldId="292"/>
        </pc:sldMkLst>
        <pc:spChg chg="mod">
          <ac:chgData name="R, Naveen Kumar" userId="c31db880-c78b-4414-a46a-beba23b5e86b" providerId="ADAL" clId="{FD788B0E-522E-409D-BEB0-218DE3BF8B27}" dt="2022-01-24T05:23:37.595" v="0"/>
          <ac:spMkLst>
            <pc:docMk/>
            <pc:sldMk cId="0" sldId="292"/>
            <ac:spMk id="2" creationId="{00000000-0000-0000-0000-000000000000}"/>
          </ac:spMkLst>
        </pc:spChg>
        <pc:spChg chg="mod">
          <ac:chgData name="R, Naveen Kumar" userId="c31db880-c78b-4414-a46a-beba23b5e86b" providerId="ADAL" clId="{FD788B0E-522E-409D-BEB0-218DE3BF8B27}" dt="2022-01-24T05:23:37.595" v="0"/>
          <ac:spMkLst>
            <pc:docMk/>
            <pc:sldMk cId="0" sldId="292"/>
            <ac:spMk id="7" creationId="{00000000-0000-0000-0000-000000000000}"/>
          </ac:spMkLst>
        </pc:spChg>
      </pc:sldChg>
      <pc:sldChg chg="modSp">
        <pc:chgData name="R, Naveen Kumar" userId="c31db880-c78b-4414-a46a-beba23b5e86b" providerId="ADAL" clId="{FD788B0E-522E-409D-BEB0-218DE3BF8B27}" dt="2022-01-24T05:23:37.595" v="0"/>
        <pc:sldMkLst>
          <pc:docMk/>
          <pc:sldMk cId="0" sldId="293"/>
        </pc:sldMkLst>
        <pc:spChg chg="mod">
          <ac:chgData name="R, Naveen Kumar" userId="c31db880-c78b-4414-a46a-beba23b5e86b" providerId="ADAL" clId="{FD788B0E-522E-409D-BEB0-218DE3BF8B27}" dt="2022-01-24T05:23:37.595" v="0"/>
          <ac:spMkLst>
            <pc:docMk/>
            <pc:sldMk cId="0" sldId="293"/>
            <ac:spMk id="2" creationId="{00000000-0000-0000-0000-000000000000}"/>
          </ac:spMkLst>
        </pc:spChg>
        <pc:spChg chg="mod">
          <ac:chgData name="R, Naveen Kumar" userId="c31db880-c78b-4414-a46a-beba23b5e86b" providerId="ADAL" clId="{FD788B0E-522E-409D-BEB0-218DE3BF8B27}" dt="2022-01-24T05:23:37.595" v="0"/>
          <ac:spMkLst>
            <pc:docMk/>
            <pc:sldMk cId="0" sldId="293"/>
            <ac:spMk id="7" creationId="{00000000-0000-0000-0000-000000000000}"/>
          </ac:spMkLst>
        </pc:spChg>
      </pc:sldChg>
      <pc:sldChg chg="modSp">
        <pc:chgData name="R, Naveen Kumar" userId="c31db880-c78b-4414-a46a-beba23b5e86b" providerId="ADAL" clId="{FD788B0E-522E-409D-BEB0-218DE3BF8B27}" dt="2022-01-24T05:23:37.595" v="0"/>
        <pc:sldMkLst>
          <pc:docMk/>
          <pc:sldMk cId="0" sldId="294"/>
        </pc:sldMkLst>
        <pc:spChg chg="mod">
          <ac:chgData name="R, Naveen Kumar" userId="c31db880-c78b-4414-a46a-beba23b5e86b" providerId="ADAL" clId="{FD788B0E-522E-409D-BEB0-218DE3BF8B27}" dt="2022-01-24T05:23:37.595" v="0"/>
          <ac:spMkLst>
            <pc:docMk/>
            <pc:sldMk cId="0" sldId="294"/>
            <ac:spMk id="3" creationId="{00000000-0000-0000-0000-000000000000}"/>
          </ac:spMkLst>
        </pc:spChg>
        <pc:spChg chg="mod">
          <ac:chgData name="R, Naveen Kumar" userId="c31db880-c78b-4414-a46a-beba23b5e86b" providerId="ADAL" clId="{FD788B0E-522E-409D-BEB0-218DE3BF8B27}" dt="2022-01-24T05:23:37.595" v="0"/>
          <ac:spMkLst>
            <pc:docMk/>
            <pc:sldMk cId="0" sldId="294"/>
            <ac:spMk id="4" creationId="{00000000-0000-0000-0000-000000000000}"/>
          </ac:spMkLst>
        </pc:spChg>
      </pc:sldChg>
      <pc:sldChg chg="modSp mod">
        <pc:chgData name="R, Naveen Kumar" userId="c31db880-c78b-4414-a46a-beba23b5e86b" providerId="ADAL" clId="{FD788B0E-522E-409D-BEB0-218DE3BF8B27}" dt="2022-01-24T05:23:37.771" v="8" actId="27636"/>
        <pc:sldMkLst>
          <pc:docMk/>
          <pc:sldMk cId="0" sldId="295"/>
        </pc:sldMkLst>
        <pc:spChg chg="mod">
          <ac:chgData name="R, Naveen Kumar" userId="c31db880-c78b-4414-a46a-beba23b5e86b" providerId="ADAL" clId="{FD788B0E-522E-409D-BEB0-218DE3BF8B27}" dt="2022-01-24T05:23:37.771" v="8" actId="27636"/>
          <ac:spMkLst>
            <pc:docMk/>
            <pc:sldMk cId="0" sldId="295"/>
            <ac:spMk id="3" creationId="{00000000-0000-0000-0000-000000000000}"/>
          </ac:spMkLst>
        </pc:spChg>
        <pc:spChg chg="mod">
          <ac:chgData name="R, Naveen Kumar" userId="c31db880-c78b-4414-a46a-beba23b5e86b" providerId="ADAL" clId="{FD788B0E-522E-409D-BEB0-218DE3BF8B27}" dt="2022-01-24T05:23:37.595" v="0"/>
          <ac:spMkLst>
            <pc:docMk/>
            <pc:sldMk cId="0" sldId="295"/>
            <ac:spMk id="4" creationId="{00000000-0000-0000-0000-000000000000}"/>
          </ac:spMkLst>
        </pc:spChg>
      </pc:sldChg>
      <pc:sldChg chg="modSp mod">
        <pc:chgData name="R, Naveen Kumar" userId="c31db880-c78b-4414-a46a-beba23b5e86b" providerId="ADAL" clId="{FD788B0E-522E-409D-BEB0-218DE3BF8B27}" dt="2022-01-24T05:23:37.718" v="2" actId="27636"/>
        <pc:sldMkLst>
          <pc:docMk/>
          <pc:sldMk cId="1902783061" sldId="303"/>
        </pc:sldMkLst>
        <pc:spChg chg="mod">
          <ac:chgData name="R, Naveen Kumar" userId="c31db880-c78b-4414-a46a-beba23b5e86b" providerId="ADAL" clId="{FD788B0E-522E-409D-BEB0-218DE3BF8B27}" dt="2022-01-24T05:23:37.718" v="2" actId="27636"/>
          <ac:spMkLst>
            <pc:docMk/>
            <pc:sldMk cId="1902783061" sldId="303"/>
            <ac:spMk id="3" creationId="{00000000-0000-0000-0000-000000000000}"/>
          </ac:spMkLst>
        </pc:spChg>
      </pc:sldChg>
      <pc:sldChg chg="modSp mod">
        <pc:chgData name="R, Naveen Kumar" userId="c31db880-c78b-4414-a46a-beba23b5e86b" providerId="ADAL" clId="{FD788B0E-522E-409D-BEB0-218DE3BF8B27}" dt="2022-01-24T05:23:37.724" v="3" actId="27636"/>
        <pc:sldMkLst>
          <pc:docMk/>
          <pc:sldMk cId="2844178335" sldId="304"/>
        </pc:sldMkLst>
        <pc:spChg chg="mod">
          <ac:chgData name="R, Naveen Kumar" userId="c31db880-c78b-4414-a46a-beba23b5e86b" providerId="ADAL" clId="{FD788B0E-522E-409D-BEB0-218DE3BF8B27}" dt="2022-01-24T05:23:37.724" v="3" actId="27636"/>
          <ac:spMkLst>
            <pc:docMk/>
            <pc:sldMk cId="2844178335" sldId="304"/>
            <ac:spMk id="2" creationId="{00000000-0000-0000-0000-000000000000}"/>
          </ac:spMkLst>
        </pc:spChg>
      </pc:sldChg>
      <pc:sldChg chg="modSp mod">
        <pc:chgData name="R, Naveen Kumar" userId="c31db880-c78b-4414-a46a-beba23b5e86b" providerId="ADAL" clId="{FD788B0E-522E-409D-BEB0-218DE3BF8B27}" dt="2022-01-24T05:23:37.730" v="4" actId="27636"/>
        <pc:sldMkLst>
          <pc:docMk/>
          <pc:sldMk cId="1219571269" sldId="305"/>
        </pc:sldMkLst>
        <pc:spChg chg="mod">
          <ac:chgData name="R, Naveen Kumar" userId="c31db880-c78b-4414-a46a-beba23b5e86b" providerId="ADAL" clId="{FD788B0E-522E-409D-BEB0-218DE3BF8B27}" dt="2022-01-24T05:23:37.730" v="4" actId="27636"/>
          <ac:spMkLst>
            <pc:docMk/>
            <pc:sldMk cId="1219571269" sldId="305"/>
            <ac:spMk id="2" creationId="{00000000-0000-0000-0000-000000000000}"/>
          </ac:spMkLst>
        </pc:spChg>
      </pc:sldChg>
      <pc:sldChg chg="modSp mod">
        <pc:chgData name="R, Naveen Kumar" userId="c31db880-c78b-4414-a46a-beba23b5e86b" providerId="ADAL" clId="{FD788B0E-522E-409D-BEB0-218DE3BF8B27}" dt="2022-01-24T05:23:37.733" v="5" actId="27636"/>
        <pc:sldMkLst>
          <pc:docMk/>
          <pc:sldMk cId="2695779205" sldId="306"/>
        </pc:sldMkLst>
        <pc:spChg chg="mod">
          <ac:chgData name="R, Naveen Kumar" userId="c31db880-c78b-4414-a46a-beba23b5e86b" providerId="ADAL" clId="{FD788B0E-522E-409D-BEB0-218DE3BF8B27}" dt="2022-01-24T05:23:37.733" v="5" actId="27636"/>
          <ac:spMkLst>
            <pc:docMk/>
            <pc:sldMk cId="2695779205" sldId="306"/>
            <ac:spMk id="2" creationId="{00000000-0000-0000-0000-000000000000}"/>
          </ac:spMkLst>
        </pc:spChg>
      </pc:sldChg>
      <pc:sldChg chg="modSp">
        <pc:chgData name="R, Naveen Kumar" userId="c31db880-c78b-4414-a46a-beba23b5e86b" providerId="ADAL" clId="{FD788B0E-522E-409D-BEB0-218DE3BF8B27}" dt="2022-01-24T05:23:37.595" v="0"/>
        <pc:sldMkLst>
          <pc:docMk/>
          <pc:sldMk cId="3301556577" sldId="307"/>
        </pc:sldMkLst>
        <pc:spChg chg="mod">
          <ac:chgData name="R, Naveen Kumar" userId="c31db880-c78b-4414-a46a-beba23b5e86b" providerId="ADAL" clId="{FD788B0E-522E-409D-BEB0-218DE3BF8B27}" dt="2022-01-24T05:23:37.595" v="0"/>
          <ac:spMkLst>
            <pc:docMk/>
            <pc:sldMk cId="3301556577" sldId="307"/>
            <ac:spMk id="4" creationId="{00000000-0000-0000-0000-000000000000}"/>
          </ac:spMkLst>
        </pc:spChg>
      </pc:sldChg>
      <pc:sldChg chg="modSp">
        <pc:chgData name="R, Naveen Kumar" userId="c31db880-c78b-4414-a46a-beba23b5e86b" providerId="ADAL" clId="{FD788B0E-522E-409D-BEB0-218DE3BF8B27}" dt="2022-01-24T05:23:37.595" v="0"/>
        <pc:sldMkLst>
          <pc:docMk/>
          <pc:sldMk cId="416162727" sldId="308"/>
        </pc:sldMkLst>
        <pc:spChg chg="mod">
          <ac:chgData name="R, Naveen Kumar" userId="c31db880-c78b-4414-a46a-beba23b5e86b" providerId="ADAL" clId="{FD788B0E-522E-409D-BEB0-218DE3BF8B27}" dt="2022-01-24T05:23:37.595" v="0"/>
          <ac:spMkLst>
            <pc:docMk/>
            <pc:sldMk cId="416162727" sldId="308"/>
            <ac:spMk id="5" creationId="{00000000-0000-0000-0000-000000000000}"/>
          </ac:spMkLst>
        </pc:spChg>
      </pc:sldChg>
      <pc:sldChg chg="modSp mod">
        <pc:chgData name="R, Naveen Kumar" userId="c31db880-c78b-4414-a46a-beba23b5e86b" providerId="ADAL" clId="{FD788B0E-522E-409D-BEB0-218DE3BF8B27}" dt="2022-01-24T05:23:37.738" v="6" actId="27636"/>
        <pc:sldMkLst>
          <pc:docMk/>
          <pc:sldMk cId="179586862" sldId="309"/>
        </pc:sldMkLst>
        <pc:spChg chg="mod">
          <ac:chgData name="R, Naveen Kumar" userId="c31db880-c78b-4414-a46a-beba23b5e86b" providerId="ADAL" clId="{FD788B0E-522E-409D-BEB0-218DE3BF8B27}" dt="2022-01-24T05:23:37.738" v="6" actId="27636"/>
          <ac:spMkLst>
            <pc:docMk/>
            <pc:sldMk cId="179586862" sldId="309"/>
            <ac:spMk id="2" creationId="{00000000-0000-0000-0000-000000000000}"/>
          </ac:spMkLst>
        </pc:spChg>
      </pc:sldChg>
      <pc:sldChg chg="modSp">
        <pc:chgData name="R, Naveen Kumar" userId="c31db880-c78b-4414-a46a-beba23b5e86b" providerId="ADAL" clId="{FD788B0E-522E-409D-BEB0-218DE3BF8B27}" dt="2022-01-24T05:23:37.595" v="0"/>
        <pc:sldMkLst>
          <pc:docMk/>
          <pc:sldMk cId="2391022557" sldId="310"/>
        </pc:sldMkLst>
        <pc:spChg chg="mod">
          <ac:chgData name="R, Naveen Kumar" userId="c31db880-c78b-4414-a46a-beba23b5e86b" providerId="ADAL" clId="{FD788B0E-522E-409D-BEB0-218DE3BF8B27}" dt="2022-01-24T05:23:37.595" v="0"/>
          <ac:spMkLst>
            <pc:docMk/>
            <pc:sldMk cId="2391022557" sldId="310"/>
            <ac:spMk id="3" creationId="{00000000-0000-0000-0000-000000000000}"/>
          </ac:spMkLst>
        </pc:spChg>
      </pc:sldChg>
      <pc:sldChg chg="modSp mod">
        <pc:chgData name="R, Naveen Kumar" userId="c31db880-c78b-4414-a46a-beba23b5e86b" providerId="ADAL" clId="{FD788B0E-522E-409D-BEB0-218DE3BF8B27}" dt="2022-01-24T05:23:37.762" v="7" actId="27636"/>
        <pc:sldMkLst>
          <pc:docMk/>
          <pc:sldMk cId="2079881680" sldId="311"/>
        </pc:sldMkLst>
        <pc:spChg chg="mod">
          <ac:chgData name="R, Naveen Kumar" userId="c31db880-c78b-4414-a46a-beba23b5e86b" providerId="ADAL" clId="{FD788B0E-522E-409D-BEB0-218DE3BF8B27}" dt="2022-01-24T05:23:37.595" v="0"/>
          <ac:spMkLst>
            <pc:docMk/>
            <pc:sldMk cId="2079881680" sldId="311"/>
            <ac:spMk id="2" creationId="{00000000-0000-0000-0000-000000000000}"/>
          </ac:spMkLst>
        </pc:spChg>
        <pc:spChg chg="mod">
          <ac:chgData name="R, Naveen Kumar" userId="c31db880-c78b-4414-a46a-beba23b5e86b" providerId="ADAL" clId="{FD788B0E-522E-409D-BEB0-218DE3BF8B27}" dt="2022-01-24T05:23:37.762" v="7" actId="27636"/>
          <ac:spMkLst>
            <pc:docMk/>
            <pc:sldMk cId="2079881680" sldId="311"/>
            <ac:spMk id="3" creationId="{00000000-0000-0000-0000-000000000000}"/>
          </ac:spMkLst>
        </pc:spChg>
      </pc:sldChg>
      <pc:sldChg chg="modSp">
        <pc:chgData name="R, Naveen Kumar" userId="c31db880-c78b-4414-a46a-beba23b5e86b" providerId="ADAL" clId="{FD788B0E-522E-409D-BEB0-218DE3BF8B27}" dt="2022-01-24T05:23:37.595" v="0"/>
        <pc:sldMkLst>
          <pc:docMk/>
          <pc:sldMk cId="2448859056" sldId="312"/>
        </pc:sldMkLst>
        <pc:spChg chg="mod">
          <ac:chgData name="R, Naveen Kumar" userId="c31db880-c78b-4414-a46a-beba23b5e86b" providerId="ADAL" clId="{FD788B0E-522E-409D-BEB0-218DE3BF8B27}" dt="2022-01-24T05:23:37.595" v="0"/>
          <ac:spMkLst>
            <pc:docMk/>
            <pc:sldMk cId="2448859056" sldId="312"/>
            <ac:spMk id="2" creationId="{00000000-0000-0000-0000-000000000000}"/>
          </ac:spMkLst>
        </pc:spChg>
        <pc:spChg chg="mod">
          <ac:chgData name="R, Naveen Kumar" userId="c31db880-c78b-4414-a46a-beba23b5e86b" providerId="ADAL" clId="{FD788B0E-522E-409D-BEB0-218DE3BF8B27}" dt="2022-01-24T05:23:37.595" v="0"/>
          <ac:spMkLst>
            <pc:docMk/>
            <pc:sldMk cId="2448859056" sldId="312"/>
            <ac:spMk id="7" creationId="{00000000-0000-0000-0000-000000000000}"/>
          </ac:spMkLst>
        </pc:spChg>
      </pc:sldChg>
      <pc:sldMasterChg chg="modSldLayout">
        <pc:chgData name="R, Naveen Kumar" userId="c31db880-c78b-4414-a46a-beba23b5e86b" providerId="ADAL" clId="{FD788B0E-522E-409D-BEB0-218DE3BF8B27}" dt="2022-01-24T05:23:37.595" v="0"/>
        <pc:sldMasterMkLst>
          <pc:docMk/>
          <pc:sldMasterMk cId="2984415325" sldId="2147483721"/>
        </pc:sldMasterMkLst>
        <pc:sldLayoutChg chg="delSp">
          <pc:chgData name="R, Naveen Kumar" userId="c31db880-c78b-4414-a46a-beba23b5e86b" providerId="ADAL" clId="{FD788B0E-522E-409D-BEB0-218DE3BF8B27}" dt="2022-01-24T05:23:37.595" v="0"/>
          <pc:sldLayoutMkLst>
            <pc:docMk/>
            <pc:sldMasterMk cId="2984415325" sldId="2147483721"/>
            <pc:sldLayoutMk cId="2774113174" sldId="2147483738"/>
          </pc:sldLayoutMkLst>
          <pc:spChg chg="del">
            <ac:chgData name="R, Naveen Kumar" userId="c31db880-c78b-4414-a46a-beba23b5e86b" providerId="ADAL" clId="{FD788B0E-522E-409D-BEB0-218DE3BF8B27}" dt="2022-01-24T05:23:37.595" v="0"/>
            <ac:spMkLst>
              <pc:docMk/>
              <pc:sldMasterMk cId="2984415325" sldId="2147483721"/>
              <pc:sldLayoutMk cId="2774113174" sldId="2147483738"/>
              <ac:spMk id="4" creationId="{00000000-0000-0000-0000-000000000000}"/>
            </ac:spMkLst>
          </pc:spChg>
          <pc:picChg chg="del">
            <ac:chgData name="R, Naveen Kumar" userId="c31db880-c78b-4414-a46a-beba23b5e86b" providerId="ADAL" clId="{FD788B0E-522E-409D-BEB0-218DE3BF8B27}" dt="2022-01-24T05:23:37.595" v="0"/>
            <ac:picMkLst>
              <pc:docMk/>
              <pc:sldMasterMk cId="2984415325" sldId="2147483721"/>
              <pc:sldLayoutMk cId="2774113174" sldId="2147483738"/>
              <ac:picMk id="3" creationId="{02DEF159-660E-4893-A63C-7C2BB5EEB9A1}"/>
            </ac:picMkLst>
          </pc:picChg>
          <pc:picChg chg="del">
            <ac:chgData name="R, Naveen Kumar" userId="c31db880-c78b-4414-a46a-beba23b5e86b" providerId="ADAL" clId="{FD788B0E-522E-409D-BEB0-218DE3BF8B27}" dt="2022-01-24T05:23:37.595" v="0"/>
            <ac:picMkLst>
              <pc:docMk/>
              <pc:sldMasterMk cId="2984415325" sldId="2147483721"/>
              <pc:sldLayoutMk cId="2774113174" sldId="2147483738"/>
              <ac:picMk id="5" creationId="{C3D2EC56-D17C-4A75-8178-C69397BC7353}"/>
            </ac:picMkLst>
          </pc:picChg>
        </pc:sldLayoutChg>
        <pc:sldLayoutChg chg="delSp">
          <pc:chgData name="R, Naveen Kumar" userId="c31db880-c78b-4414-a46a-beba23b5e86b" providerId="ADAL" clId="{FD788B0E-522E-409D-BEB0-218DE3BF8B27}" dt="2022-01-24T05:23:37.595" v="0"/>
          <pc:sldLayoutMkLst>
            <pc:docMk/>
            <pc:sldMasterMk cId="2984415325" sldId="2147483721"/>
            <pc:sldLayoutMk cId="4273748567" sldId="2147483739"/>
          </pc:sldLayoutMkLst>
          <pc:picChg chg="del">
            <ac:chgData name="R, Naveen Kumar" userId="c31db880-c78b-4414-a46a-beba23b5e86b" providerId="ADAL" clId="{FD788B0E-522E-409D-BEB0-218DE3BF8B27}" dt="2022-01-24T05:23:37.595" v="0"/>
            <ac:picMkLst>
              <pc:docMk/>
              <pc:sldMasterMk cId="2984415325" sldId="2147483721"/>
              <pc:sldLayoutMk cId="4273748567" sldId="2147483739"/>
              <ac:picMk id="6" creationId="{00000000-0000-0000-0000-000000000000}"/>
            </ac:picMkLst>
          </pc:picChg>
        </pc:sldLayoutChg>
        <pc:sldLayoutChg chg="delSp">
          <pc:chgData name="R, Naveen Kumar" userId="c31db880-c78b-4414-a46a-beba23b5e86b" providerId="ADAL" clId="{FD788B0E-522E-409D-BEB0-218DE3BF8B27}" dt="2022-01-24T05:23:37.595" v="0"/>
          <pc:sldLayoutMkLst>
            <pc:docMk/>
            <pc:sldMasterMk cId="2984415325" sldId="2147483721"/>
            <pc:sldLayoutMk cId="2850558661" sldId="2147483740"/>
          </pc:sldLayoutMkLst>
          <pc:graphicFrameChg chg="del">
            <ac:chgData name="R, Naveen Kumar" userId="c31db880-c78b-4414-a46a-beba23b5e86b" providerId="ADAL" clId="{FD788B0E-522E-409D-BEB0-218DE3BF8B27}" dt="2022-01-24T05:23:37.595" v="0"/>
            <ac:graphicFrameMkLst>
              <pc:docMk/>
              <pc:sldMasterMk cId="2984415325" sldId="2147483721"/>
              <pc:sldLayoutMk cId="2850558661" sldId="2147483740"/>
              <ac:graphicFrameMk id="4" creationId="{00000000-0000-0000-0000-000000000000}"/>
            </ac:graphicFrameMkLst>
          </pc:graphicFrameChg>
        </pc:sldLayoutChg>
        <pc:sldLayoutChg chg="delSp">
          <pc:chgData name="R, Naveen Kumar" userId="c31db880-c78b-4414-a46a-beba23b5e86b" providerId="ADAL" clId="{FD788B0E-522E-409D-BEB0-218DE3BF8B27}" dt="2022-01-24T05:23:37.595" v="0"/>
          <pc:sldLayoutMkLst>
            <pc:docMk/>
            <pc:sldMasterMk cId="2984415325" sldId="2147483721"/>
            <pc:sldLayoutMk cId="3532184352" sldId="2147483741"/>
          </pc:sldLayoutMkLst>
          <pc:picChg chg="del">
            <ac:chgData name="R, Naveen Kumar" userId="c31db880-c78b-4414-a46a-beba23b5e86b" providerId="ADAL" clId="{FD788B0E-522E-409D-BEB0-218DE3BF8B27}" dt="2022-01-24T05:23:37.595" v="0"/>
            <ac:picMkLst>
              <pc:docMk/>
              <pc:sldMasterMk cId="2984415325" sldId="2147483721"/>
              <pc:sldLayoutMk cId="3532184352" sldId="2147483741"/>
              <ac:picMk id="17410" creationId="{00000000-0000-0000-0000-000000000000}"/>
            </ac:picMkLst>
          </pc:picChg>
        </pc:sldLayoutChg>
        <pc:sldLayoutChg chg="delSp">
          <pc:chgData name="R, Naveen Kumar" userId="c31db880-c78b-4414-a46a-beba23b5e86b" providerId="ADAL" clId="{FD788B0E-522E-409D-BEB0-218DE3BF8B27}" dt="2022-01-24T05:23:37.595" v="0"/>
          <pc:sldLayoutMkLst>
            <pc:docMk/>
            <pc:sldMasterMk cId="2984415325" sldId="2147483721"/>
            <pc:sldLayoutMk cId="4141067343" sldId="2147483742"/>
          </pc:sldLayoutMkLst>
          <pc:picChg chg="del">
            <ac:chgData name="R, Naveen Kumar" userId="c31db880-c78b-4414-a46a-beba23b5e86b" providerId="ADAL" clId="{FD788B0E-522E-409D-BEB0-218DE3BF8B27}" dt="2022-01-24T05:23:37.595" v="0"/>
            <ac:picMkLst>
              <pc:docMk/>
              <pc:sldMasterMk cId="2984415325" sldId="2147483721"/>
              <pc:sldLayoutMk cId="4141067343" sldId="2147483742"/>
              <ac:picMk id="18434" creationId="{00000000-0000-0000-0000-000000000000}"/>
            </ac:picMkLst>
          </pc:picChg>
        </pc:sldLayoutChg>
        <pc:sldLayoutChg chg="delSp">
          <pc:chgData name="R, Naveen Kumar" userId="c31db880-c78b-4414-a46a-beba23b5e86b" providerId="ADAL" clId="{FD788B0E-522E-409D-BEB0-218DE3BF8B27}" dt="2022-01-24T05:23:37.595" v="0"/>
          <pc:sldLayoutMkLst>
            <pc:docMk/>
            <pc:sldMasterMk cId="2984415325" sldId="2147483721"/>
            <pc:sldLayoutMk cId="1094808552" sldId="2147483743"/>
          </pc:sldLayoutMkLst>
          <pc:picChg chg="del">
            <ac:chgData name="R, Naveen Kumar" userId="c31db880-c78b-4414-a46a-beba23b5e86b" providerId="ADAL" clId="{FD788B0E-522E-409D-BEB0-218DE3BF8B27}" dt="2022-01-24T05:23:37.595" v="0"/>
            <ac:picMkLst>
              <pc:docMk/>
              <pc:sldMasterMk cId="2984415325" sldId="2147483721"/>
              <pc:sldLayoutMk cId="1094808552" sldId="2147483743"/>
              <ac:picMk id="19458" creationId="{00000000-0000-0000-0000-000000000000}"/>
            </ac:picMkLst>
          </pc:picChg>
        </pc:sldLayoutChg>
        <pc:sldLayoutChg chg="delSp">
          <pc:chgData name="R, Naveen Kumar" userId="c31db880-c78b-4414-a46a-beba23b5e86b" providerId="ADAL" clId="{FD788B0E-522E-409D-BEB0-218DE3BF8B27}" dt="2022-01-24T05:23:37.595" v="0"/>
          <pc:sldLayoutMkLst>
            <pc:docMk/>
            <pc:sldMasterMk cId="2984415325" sldId="2147483721"/>
            <pc:sldLayoutMk cId="1163975169" sldId="2147483744"/>
          </pc:sldLayoutMkLst>
          <pc:picChg chg="del">
            <ac:chgData name="R, Naveen Kumar" userId="c31db880-c78b-4414-a46a-beba23b5e86b" providerId="ADAL" clId="{FD788B0E-522E-409D-BEB0-218DE3BF8B27}" dt="2022-01-24T05:23:37.595" v="0"/>
            <ac:picMkLst>
              <pc:docMk/>
              <pc:sldMasterMk cId="2984415325" sldId="2147483721"/>
              <pc:sldLayoutMk cId="1163975169" sldId="2147483744"/>
              <ac:picMk id="20482" creationId="{00000000-0000-0000-0000-000000000000}"/>
            </ac:picMkLst>
          </pc:pic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a:t>Create or lookup for </a:t>
          </a:r>
          <a:r>
            <a:rPr lang="en-US" dirty="0" err="1"/>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a:t>Configure Persistence Unit using Spring API</a:t>
          </a:r>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a:t>Obtain </a:t>
          </a:r>
          <a:r>
            <a:rPr lang="en-US" dirty="0" err="1"/>
            <a:t>EntityManager</a:t>
          </a:r>
          <a:r>
            <a:rPr lang="en-US" dirty="0"/>
            <a:t> in DAO repositories</a:t>
          </a:r>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a:t>Setup transaction management on Services</a:t>
          </a:r>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pt>
  </dgm:ptLst>
  <dgm:cxnLst>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FA5D9C75-D8AD-4B39-97F4-0D1C4CBE6D15}" srcId="{53B2F630-5AFB-40B1-B67A-A40117713861}" destId="{3DB7377E-5545-4F56-A0F1-E47776EDFA98}" srcOrd="2" destOrd="0" parTransId="{1EDEBB51-E499-405B-8DB1-6EC479CEB126}" sibTransId="{541FE156-6F3E-4129-9B19-8C2A27B1876E}"/>
    <dgm:cxn modelId="{E0EA8389-0ED1-4AD4-8B8F-73A603CF3CFC}" srcId="{53B2F630-5AFB-40B1-B67A-A40117713861}" destId="{F92B8473-4DA0-46FD-8717-F8FA26769B72}" srcOrd="0" destOrd="0" parTransId="{4E100115-8173-4249-8009-B88121411620}" sibTransId="{FEAE91D5-95E5-4AD9-AF61-C44B740CE676}"/>
    <dgm:cxn modelId="{05ADA9A4-4BD4-484D-8012-40EF2F05BFA2}" type="presOf" srcId="{D9D410A2-BCF5-4D33-B448-451EC547FF16}" destId="{D7A14C5D-AD8F-4476-A021-842494604593}"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83854BAB-EA0A-4391-B19F-089C3F891E3E}" type="presOf" srcId="{C630C637-5977-403B-ADB0-31B35962CD95}" destId="{82553AD9-912C-4D13-AFEC-36DE304321C2}"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a:t>Repository Implementation</a:t>
          </a:r>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pt>
    <dgm:pt modelId="{A8066F23-64A7-4291-A9A2-1CE64E503C92}" type="pres">
      <dgm:prSet presAssocID="{C1C7720D-DC98-42BA-8480-17BF55DD5180}" presName="parSh" presStyleLbl="node1" presStyleIdx="0" presStyleCnt="3"/>
      <dgm:spPr/>
    </dgm:pt>
    <dgm:pt modelId="{B831CD6D-AC77-49DD-BC5B-276C2FCDB46E}" type="pres">
      <dgm:prSet presAssocID="{C1C7720D-DC98-42BA-8480-17BF55DD5180}" presName="desTx" presStyleLbl="fgAcc1" presStyleIdx="0" presStyleCnt="3" custScaleX="113487">
        <dgm:presLayoutVars>
          <dgm:bulletEnabled val="1"/>
        </dgm:presLayoutVars>
      </dgm:prSet>
      <dgm:spPr/>
    </dgm:pt>
    <dgm:pt modelId="{E392D298-9DB9-4E96-BB1E-7EA567C317D4}" type="pres">
      <dgm:prSet presAssocID="{0859AF2C-CC5E-4F90-A67E-B657788E9073}" presName="sibTrans" presStyleLbl="sibTrans2D1" presStyleIdx="0" presStyleCnt="2"/>
      <dgm:spPr/>
    </dgm:pt>
    <dgm:pt modelId="{50421EF3-D032-4E86-AFB5-7AC1D56AA538}" type="pres">
      <dgm:prSet presAssocID="{0859AF2C-CC5E-4F90-A67E-B657788E9073}" presName="connTx" presStyleLbl="sibTrans2D1" presStyleIdx="0" presStyleCnt="2"/>
      <dgm:spPr/>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pt>
    <dgm:pt modelId="{47328D34-D111-432A-9820-DDE2A51D1949}" type="pres">
      <dgm:prSet presAssocID="{E8B2FD83-55F3-4774-B582-8F7207BAC91F}" presName="parSh" presStyleLbl="node1" presStyleIdx="1" presStyleCnt="3"/>
      <dgm:spPr/>
    </dgm:pt>
    <dgm:pt modelId="{15A0F732-B193-4792-9D76-460AEE315693}" type="pres">
      <dgm:prSet presAssocID="{E8B2FD83-55F3-4774-B582-8F7207BAC91F}" presName="desTx" presStyleLbl="fgAcc1" presStyleIdx="1" presStyleCnt="3" custScaleX="94216">
        <dgm:presLayoutVars>
          <dgm:bulletEnabled val="1"/>
        </dgm:presLayoutVars>
      </dgm:prSet>
      <dgm:spPr/>
    </dgm:pt>
    <dgm:pt modelId="{3A84B172-5C2D-4919-ACFD-FFF00EFC958A}" type="pres">
      <dgm:prSet presAssocID="{C5ED70EC-CAE7-4924-B6B0-76CEA98576EF}" presName="sibTrans" presStyleLbl="sibTrans2D1" presStyleIdx="1" presStyleCnt="2"/>
      <dgm:spPr/>
    </dgm:pt>
    <dgm:pt modelId="{EA68A12E-AA31-4A94-9F17-AE6A88A56D71}" type="pres">
      <dgm:prSet presAssocID="{C5ED70EC-CAE7-4924-B6B0-76CEA98576EF}" presName="connTx" presStyleLbl="sibTrans2D1" presStyleIdx="1" presStyleCnt="2"/>
      <dgm:spPr/>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pt>
    <dgm:pt modelId="{B0C23DA4-E5C7-4374-ACB3-6CC9210E6BB5}" type="pres">
      <dgm:prSet presAssocID="{C5BF4E84-FA52-42FC-A35A-C92D7EBF2DFD}" presName="parSh" presStyleLbl="node1" presStyleIdx="2" presStyleCnt="3"/>
      <dgm:spPr/>
    </dgm:pt>
    <dgm:pt modelId="{F7D51E3E-B4E7-461B-9CE7-B4105406B37E}" type="pres">
      <dgm:prSet presAssocID="{C5BF4E84-FA52-42FC-A35A-C92D7EBF2DFD}" presName="desTx" presStyleLbl="fgAcc1" presStyleIdx="2" presStyleCnt="3" custScaleX="106063">
        <dgm:presLayoutVars>
          <dgm:bulletEnabled val="1"/>
        </dgm:presLayoutVars>
      </dgm:prSet>
      <dgm:spPr/>
    </dgm:pt>
  </dgm:ptLst>
  <dgm:cxnLst>
    <dgm:cxn modelId="{A24CD405-93D2-411A-A1BA-08C57ACC2276}" type="presOf" srcId="{E50ECADF-1983-4CCB-AC2A-1F4EA1660ED8}" destId="{B831CD6D-AC77-49DD-BC5B-276C2FCDB46E}"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2F294B3C-D7B8-46B8-A839-F77813444325}" srcId="{C5BF4E84-FA52-42FC-A35A-C92D7EBF2DFD}" destId="{0A449F70-6B55-4C9B-8239-DC285AAF792F}" srcOrd="0" destOrd="0" parTransId="{6503C912-6243-4F71-8A08-7DE3E822C1BE}" sibTransId="{6EA834FC-24E7-431A-9119-D39182C5C12E}"/>
    <dgm:cxn modelId="{8B01716D-DF3E-4AF5-816B-DE88A300DC66}" srcId="{5F4D32C1-1F77-43E9-9847-D89495B9BB94}" destId="{E8B2FD83-55F3-4774-B582-8F7207BAC91F}" srcOrd="1" destOrd="0" parTransId="{3DBA5D01-2B47-474D-8A4D-8E239F2D4E58}" sibTransId="{C5ED70EC-CAE7-4924-B6B0-76CEA98576EF}"/>
    <dgm:cxn modelId="{4F8E1C7D-3C9D-4792-8952-C1AE6A40CFEC}" type="presOf" srcId="{E8B2FD83-55F3-4774-B582-8F7207BAC91F}" destId="{8D6F7B04-E222-4DBF-A0FF-FC0755FAAB4E}" srcOrd="0" destOrd="0" presId="urn:microsoft.com/office/officeart/2005/8/layout/process3"/>
    <dgm:cxn modelId="{2ADD6699-53E8-4070-8961-B72A2217223F}" type="presOf" srcId="{C5BF4E84-FA52-42FC-A35A-C92D7EBF2DFD}" destId="{B0C23DA4-E5C7-4374-ACB3-6CC9210E6BB5}"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3DA6739F-A08C-4684-8ACD-811A7D9FF35D}" type="presOf" srcId="{C1C7720D-DC98-42BA-8480-17BF55DD5180}" destId="{A8066F23-64A7-4291-A9A2-1CE64E503C92}" srcOrd="1"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EB1FF6A6-A99E-4E08-AE19-DAFA63FB1117}" srcId="{5F4D32C1-1F77-43E9-9847-D89495B9BB94}" destId="{C5BF4E84-FA52-42FC-A35A-C92D7EBF2DFD}" srcOrd="2" destOrd="0" parTransId="{871EC3FE-42CA-44D0-8E37-B7C5ADDD5B60}" sibTransId="{2BCAAD84-02A4-4FB8-B018-80BA3888BCE1}"/>
    <dgm:cxn modelId="{67A5AEB1-622E-4205-A94C-64A4958F0094}" type="presOf" srcId="{0859AF2C-CC5E-4F90-A67E-B657788E9073}" destId="{50421EF3-D032-4E86-AFB5-7AC1D56AA538}" srcOrd="1"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32645CD4-6064-4FCB-B983-48D1EBF1DDDA}"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34B006E7-5B76-42FB-93C9-5EF2ABED33C2}" type="presOf" srcId="{C5BF4E84-FA52-42FC-A35A-C92D7EBF2DFD}" destId="{FF75F46C-1114-4EDC-835A-E1E04D3A4F85}"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23BDF5F2-A324-4725-9B85-D1CD7759995E}" type="presOf" srcId="{C5ED70EC-CAE7-4924-B6B0-76CEA98576EF}" destId="{3A84B172-5C2D-4919-ACFD-FFF00EFC958A}" srcOrd="0" destOrd="0" presId="urn:microsoft.com/office/officeart/2005/8/layout/process3"/>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a:solidFill>
                <a:srgbClr val="FF0000"/>
              </a:solidFill>
            </a:rPr>
            <a:t>Spring DATA JPA</a:t>
          </a: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pt>
    <dgm:pt modelId="{A8066F23-64A7-4291-A9A2-1CE64E503C92}" type="pres">
      <dgm:prSet presAssocID="{C1C7720D-DC98-42BA-8480-17BF55DD5180}" presName="parSh" presStyleLbl="node1" presStyleIdx="0" presStyleCnt="3"/>
      <dgm:spPr/>
    </dgm:pt>
    <dgm:pt modelId="{B831CD6D-AC77-49DD-BC5B-276C2FCDB46E}" type="pres">
      <dgm:prSet presAssocID="{C1C7720D-DC98-42BA-8480-17BF55DD5180}" presName="desTx" presStyleLbl="fgAcc1" presStyleIdx="0" presStyleCnt="3" custScaleX="112828">
        <dgm:presLayoutVars>
          <dgm:bulletEnabled val="1"/>
        </dgm:presLayoutVars>
      </dgm:prSet>
      <dgm:spPr/>
    </dgm:pt>
    <dgm:pt modelId="{E392D298-9DB9-4E96-BB1E-7EA567C317D4}" type="pres">
      <dgm:prSet presAssocID="{0859AF2C-CC5E-4F90-A67E-B657788E9073}" presName="sibTrans" presStyleLbl="sibTrans2D1" presStyleIdx="0" presStyleCnt="2"/>
      <dgm:spPr/>
    </dgm:pt>
    <dgm:pt modelId="{50421EF3-D032-4E86-AFB5-7AC1D56AA538}" type="pres">
      <dgm:prSet presAssocID="{0859AF2C-CC5E-4F90-A67E-B657788E9073}" presName="connTx" presStyleLbl="sibTrans2D1" presStyleIdx="0" presStyleCnt="2"/>
      <dgm:spPr/>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pt>
    <dgm:pt modelId="{47328D34-D111-432A-9820-DDE2A51D1949}" type="pres">
      <dgm:prSet presAssocID="{E8B2FD83-55F3-4774-B582-8F7207BAC91F}" presName="parSh" presStyleLbl="node1" presStyleIdx="1" presStyleCnt="3"/>
      <dgm:spPr/>
    </dgm:pt>
    <dgm:pt modelId="{15A0F732-B193-4792-9D76-460AEE315693}" type="pres">
      <dgm:prSet presAssocID="{E8B2FD83-55F3-4774-B582-8F7207BAC91F}" presName="desTx" presStyleLbl="fgAcc1" presStyleIdx="1" presStyleCnt="3">
        <dgm:presLayoutVars>
          <dgm:bulletEnabled val="1"/>
        </dgm:presLayoutVars>
      </dgm:prSet>
      <dgm:spPr/>
    </dgm:pt>
    <dgm:pt modelId="{3A84B172-5C2D-4919-ACFD-FFF00EFC958A}" type="pres">
      <dgm:prSet presAssocID="{C5ED70EC-CAE7-4924-B6B0-76CEA98576EF}" presName="sibTrans" presStyleLbl="sibTrans2D1" presStyleIdx="1" presStyleCnt="2"/>
      <dgm:spPr/>
    </dgm:pt>
    <dgm:pt modelId="{EA68A12E-AA31-4A94-9F17-AE6A88A56D71}" type="pres">
      <dgm:prSet presAssocID="{C5ED70EC-CAE7-4924-B6B0-76CEA98576EF}" presName="connTx" presStyleLbl="sibTrans2D1" presStyleIdx="1" presStyleCnt="2"/>
      <dgm:spPr/>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pt>
    <dgm:pt modelId="{B0C23DA4-E5C7-4374-ACB3-6CC9210E6BB5}" type="pres">
      <dgm:prSet presAssocID="{C5BF4E84-FA52-42FC-A35A-C92D7EBF2DFD}" presName="parSh" presStyleLbl="node1" presStyleIdx="2" presStyleCnt="3"/>
      <dgm:spPr/>
    </dgm:pt>
    <dgm:pt modelId="{F7D51E3E-B4E7-461B-9CE7-B4105406B37E}" type="pres">
      <dgm:prSet presAssocID="{C5BF4E84-FA52-42FC-A35A-C92D7EBF2DFD}" presName="desTx" presStyleLbl="fgAcc1" presStyleIdx="2" presStyleCnt="3">
        <dgm:presLayoutVars>
          <dgm:bulletEnabled val="1"/>
        </dgm:presLayoutVars>
      </dgm:prSet>
      <dgm:spPr/>
    </dgm:pt>
  </dgm:ptLst>
  <dgm:cxnLst>
    <dgm:cxn modelId="{4171B701-B990-411E-B080-6444EA8B651E}" type="presOf" srcId="{E50ECADF-1983-4CCB-AC2A-1F4EA1660ED8}" destId="{B831CD6D-AC77-49DD-BC5B-276C2FCDB46E}" srcOrd="0" destOrd="0" presId="urn:microsoft.com/office/officeart/2005/8/layout/process3"/>
    <dgm:cxn modelId="{8E19630E-76ED-4797-A39F-BE36BCD5976A}" type="presOf" srcId="{E8B2FD83-55F3-4774-B582-8F7207BAC91F}" destId="{47328D34-D111-432A-9820-DDE2A51D1949}" srcOrd="1"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11129B1B-7485-4C9D-905C-BF686275FAE4}" type="presOf" srcId="{C1C7720D-DC98-42BA-8480-17BF55DD5180}" destId="{A8066F23-64A7-4291-A9A2-1CE64E503C92}" srcOrd="1" destOrd="0" presId="urn:microsoft.com/office/officeart/2005/8/layout/process3"/>
    <dgm:cxn modelId="{C82FA520-E035-4EE6-B6F6-4010BE43C540}" type="presOf" srcId="{664120FD-79A7-450E-A552-BC8F27D195AE}" destId="{15A0F732-B193-4792-9D76-460AEE315693}"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0072816E-3AED-46A7-9B70-0AD5D0D20B91}" type="presOf" srcId="{C5ED70EC-CAE7-4924-B6B0-76CEA98576EF}" destId="{3A84B172-5C2D-4919-ACFD-FFF00EFC958A}" srcOrd="0"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3ECA5A59-1112-4441-B028-83A7597D7768}" type="presOf" srcId="{C5BF4E84-FA52-42FC-A35A-C92D7EBF2DFD}" destId="{B0C23DA4-E5C7-4374-ACB3-6CC9210E6BB5}"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AF31C290-C3CF-40A3-9066-B0CDA09AB984}" type="presOf" srcId="{C5ED70EC-CAE7-4924-B6B0-76CEA98576EF}" destId="{EA68A12E-AA31-4A94-9F17-AE6A88A56D71}"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5515FD9E-0519-406E-8C56-1469E15AAAA2}" type="presOf" srcId="{5F4D32C1-1F77-43E9-9847-D89495B9BB94}" destId="{13BFABA1-96AA-43DF-B69D-EE834344EE44}"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EB1FF6A6-A99E-4E08-AE19-DAFA63FB1117}" srcId="{5F4D32C1-1F77-43E9-9847-D89495B9BB94}" destId="{C5BF4E84-FA52-42FC-A35A-C92D7EBF2DFD}" srcOrd="2" destOrd="0" parTransId="{871EC3FE-42CA-44D0-8E37-B7C5ADDD5B60}" sibTransId="{2BCAAD84-02A4-4FB8-B018-80BA3888BCE1}"/>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905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Setup transaction management on Services</a:t>
          </a:r>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905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Obtain </a:t>
          </a:r>
          <a:r>
            <a:rPr lang="en-US" sz="2300" kern="1200" dirty="0" err="1"/>
            <a:t>EntityManager</a:t>
          </a:r>
          <a:r>
            <a:rPr lang="en-US" sz="2300" kern="1200" dirty="0"/>
            <a:t> in DAO repositories</a:t>
          </a:r>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905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Configure Persistence Unit using Spring API</a:t>
          </a:r>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905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Create or lookup for </a:t>
          </a:r>
          <a:r>
            <a:rPr lang="en-US" sz="2300" kern="1200" dirty="0" err="1"/>
            <a:t>DataSource</a:t>
          </a:r>
          <a:endParaRPr lang="en-US" sz="23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6560" y="94749"/>
          <a:ext cx="1627839" cy="820800"/>
        </a:xfrm>
        <a:prstGeom prst="roundRect">
          <a:avLst>
            <a:gd name="adj" fmla="val 10000"/>
          </a:avLst>
        </a:prstGeom>
        <a:solidFill>
          <a:schemeClr val="accent5">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Controller</a:t>
          </a:r>
        </a:p>
      </dsp:txBody>
      <dsp:txXfrm>
        <a:off x="6560" y="94749"/>
        <a:ext cx="1627839" cy="547200"/>
      </dsp:txXfrm>
    </dsp:sp>
    <dsp:sp modelId="{B831CD6D-AC77-49DD-BC5B-276C2FCDB46E}">
      <dsp:nvSpPr>
        <dsp:cNvPr id="0" name=""/>
        <dsp:cNvSpPr/>
      </dsp:nvSpPr>
      <dsp:spPr>
        <a:xfrm>
          <a:off x="230200" y="641949"/>
          <a:ext cx="1847386"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62254" y="674003"/>
        <a:ext cx="1783278" cy="1030292"/>
      </dsp:txXfrm>
    </dsp:sp>
    <dsp:sp modelId="{E392D298-9DB9-4E96-BB1E-7EA567C317D4}">
      <dsp:nvSpPr>
        <dsp:cNvPr id="0" name=""/>
        <dsp:cNvSpPr/>
      </dsp:nvSpPr>
      <dsp:spPr>
        <a:xfrm>
          <a:off x="1908618" y="165706"/>
          <a:ext cx="581342" cy="405285"/>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1908618" y="246763"/>
        <a:ext cx="459757" cy="243171"/>
      </dsp:txXfrm>
    </dsp:sp>
    <dsp:sp modelId="{47328D34-D111-432A-9820-DDE2A51D1949}">
      <dsp:nvSpPr>
        <dsp:cNvPr id="0" name=""/>
        <dsp:cNvSpPr/>
      </dsp:nvSpPr>
      <dsp:spPr>
        <a:xfrm>
          <a:off x="2731272" y="94749"/>
          <a:ext cx="1627839" cy="820800"/>
        </a:xfrm>
        <a:prstGeom prst="roundRect">
          <a:avLst>
            <a:gd name="adj" fmla="val 10000"/>
          </a:avLst>
        </a:prstGeom>
        <a:solidFill>
          <a:schemeClr val="accent5">
            <a:hueOff val="1247628"/>
            <a:satOff val="-25244"/>
            <a:lumOff val="784"/>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Service</a:t>
          </a:r>
        </a:p>
      </dsp:txBody>
      <dsp:txXfrm>
        <a:off x="2731272" y="94749"/>
        <a:ext cx="1627839" cy="547200"/>
      </dsp:txXfrm>
    </dsp:sp>
    <dsp:sp modelId="{15A0F732-B193-4792-9D76-460AEE315693}">
      <dsp:nvSpPr>
        <dsp:cNvPr id="0" name=""/>
        <dsp:cNvSpPr/>
      </dsp:nvSpPr>
      <dsp:spPr>
        <a:xfrm>
          <a:off x="3111762" y="641949"/>
          <a:ext cx="1533685"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1247628"/>
              <a:satOff val="-25244"/>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143816" y="674003"/>
        <a:ext cx="1469577" cy="1030292"/>
      </dsp:txXfrm>
    </dsp:sp>
    <dsp:sp modelId="{3A84B172-5C2D-4919-ACFD-FFF00EFC958A}">
      <dsp:nvSpPr>
        <dsp:cNvPr id="0" name=""/>
        <dsp:cNvSpPr/>
      </dsp:nvSpPr>
      <dsp:spPr>
        <a:xfrm>
          <a:off x="4594117" y="165706"/>
          <a:ext cx="498211" cy="405285"/>
        </a:xfrm>
        <a:prstGeom prst="rightArrow">
          <a:avLst>
            <a:gd name="adj1" fmla="val 60000"/>
            <a:gd name="adj2" fmla="val 50000"/>
          </a:avLst>
        </a:prstGeom>
        <a:solidFill>
          <a:schemeClr val="accent5">
            <a:hueOff val="2495256"/>
            <a:satOff val="-50489"/>
            <a:lumOff val="156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4594117" y="246763"/>
        <a:ext cx="376626" cy="243171"/>
      </dsp:txXfrm>
    </dsp:sp>
    <dsp:sp modelId="{B0C23DA4-E5C7-4374-ACB3-6CC9210E6BB5}">
      <dsp:nvSpPr>
        <dsp:cNvPr id="0" name=""/>
        <dsp:cNvSpPr/>
      </dsp:nvSpPr>
      <dsp:spPr>
        <a:xfrm>
          <a:off x="5299133" y="94749"/>
          <a:ext cx="1627839" cy="820800"/>
        </a:xfrm>
        <a:prstGeom prst="roundRect">
          <a:avLst>
            <a:gd name="adj" fmla="val 10000"/>
          </a:avLst>
        </a:prstGeom>
        <a:solidFill>
          <a:schemeClr val="accent5">
            <a:hueOff val="2495256"/>
            <a:satOff val="-50489"/>
            <a:lumOff val="1569"/>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Repository</a:t>
          </a:r>
        </a:p>
      </dsp:txBody>
      <dsp:txXfrm>
        <a:off x="5299133" y="94749"/>
        <a:ext cx="1627839" cy="547200"/>
      </dsp:txXfrm>
    </dsp:sp>
    <dsp:sp modelId="{F7D51E3E-B4E7-461B-9CE7-B4105406B37E}">
      <dsp:nvSpPr>
        <dsp:cNvPr id="0" name=""/>
        <dsp:cNvSpPr/>
      </dsp:nvSpPr>
      <dsp:spPr>
        <a:xfrm>
          <a:off x="5583198" y="641949"/>
          <a:ext cx="1726535"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2495256"/>
              <a:satOff val="-50489"/>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Repository Implementation</a:t>
          </a:r>
        </a:p>
      </dsp:txBody>
      <dsp:txXfrm>
        <a:off x="5615252" y="674003"/>
        <a:ext cx="1662427" cy="10302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Controller</a:t>
          </a:r>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1247628"/>
            <a:satOff val="-25244"/>
            <a:lumOff val="784"/>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Service</a:t>
          </a:r>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1247628"/>
              <a:satOff val="-25244"/>
              <a:lumOff val="78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2495256"/>
            <a:satOff val="-50489"/>
            <a:lumOff val="156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2495256"/>
            <a:satOff val="-50489"/>
            <a:lumOff val="1569"/>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Repository</a:t>
          </a:r>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9050" cap="rnd" cmpd="sng" algn="ctr">
          <a:solidFill>
            <a:schemeClr val="accent5">
              <a:hueOff val="2495256"/>
              <a:satOff val="-50489"/>
              <a:lumOff val="15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solidFill>
                <a:srgbClr val="FF0000"/>
              </a:solidFill>
            </a:rPr>
            <a:t>Spring DATA JPA</a:t>
          </a: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Basic Spring 4.0				          Spring</a:t>
            </a:r>
            <a:r>
              <a:rPr lang="en-US" sz="1000" baseline="0" dirty="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a:p>
            <a:r>
              <a:rPr lang="en-US" dirty="0"/>
              <a:t>You can obtain </a:t>
            </a:r>
            <a:r>
              <a:rPr lang="en-US" dirty="0" err="1"/>
              <a:t>EntityManagerFactory</a:t>
            </a:r>
            <a:r>
              <a:rPr lang="en-US" dirty="0"/>
              <a:t> or </a:t>
            </a:r>
            <a:r>
              <a:rPr lang="en-US" dirty="0" err="1"/>
              <a:t>EntityManager</a:t>
            </a:r>
            <a:r>
              <a:rPr lang="en-US" dirty="0"/>
              <a:t> from a container via dependency injection, and you can automatically participate in the current transaction.</a:t>
            </a:r>
          </a:p>
          <a:p>
            <a:endParaRPr lang="en-US" dirty="0"/>
          </a:p>
          <a:p>
            <a:endParaRPr lang="en-US" dirty="0"/>
          </a:p>
          <a:p>
            <a:endParaRPr lang="en-US" dirty="0"/>
          </a:p>
          <a:p>
            <a:r>
              <a:rPr lang="en-US" b="1" dirty="0"/>
              <a:t>Note:</a:t>
            </a:r>
            <a:r>
              <a:rPr lang="en-US" dirty="0"/>
              <a:t> You need to configure the </a:t>
            </a:r>
            <a:r>
              <a:rPr lang="en-US" dirty="0" err="1"/>
              <a:t>PersistenceAnnotationBeanPostProcessor</a:t>
            </a:r>
            <a:r>
              <a:rPr lang="en-US" dirty="0"/>
              <a:t> of Spring in order for annotations given in the slide to be processed. 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a:t>What is Spring Data JPA?</a:t>
            </a:r>
          </a:p>
          <a:p>
            <a:endParaRPr lang="en-US" dirty="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Data JPA, a separate Spring project but dependent on Spring Framework, can write your repositories 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a:p>
          <a:p>
            <a:r>
              <a:rPr lang="en-US" b="1" dirty="0"/>
              <a:t>Note:</a:t>
            </a:r>
            <a:r>
              <a:rPr lang="en-US" dirty="0"/>
              <a:t> To configure Spring Data using XML required a new Spring Data JPA namespace, </a:t>
            </a:r>
            <a:r>
              <a:rPr lang="en-US" dirty="0">
                <a:hlinkClick r:id="rId3"/>
              </a:rPr>
              <a:t>http://www.springframework.org/schema/data/jpa</a:t>
            </a:r>
            <a:r>
              <a:rPr lang="en-US" dirty="0"/>
              <a:t> and to enable auto scanning of application repositories, one need to specify &lt;</a:t>
            </a:r>
            <a:r>
              <a:rPr lang="en-US" dirty="0" err="1"/>
              <a:t>jpa:repositories</a:t>
            </a:r>
            <a:r>
              <a:rPr lang="en-US" dirty="0"/>
              <a:t>&gt; element in spring configuration. </a:t>
            </a:r>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a:t>JpaRepository</a:t>
            </a:r>
            <a:r>
              <a:rPr lang="en-US" dirty="0"/>
              <a:t> and be typed to the domain class and an ID type.  </a:t>
            </a:r>
            <a:r>
              <a:rPr lang="en-US" dirty="0" err="1"/>
              <a:t>JpaRepository</a:t>
            </a:r>
            <a:r>
              <a:rPr lang="en-US" dirty="0"/>
              <a:t> is a child </a:t>
            </a:r>
            <a:r>
              <a:rPr lang="en-US" dirty="0" err="1"/>
              <a:t>inteface</a:t>
            </a:r>
            <a:r>
              <a:rPr lang="en-US" dirty="0"/>
              <a:t> of following:</a:t>
            </a:r>
          </a:p>
          <a:p>
            <a:endParaRPr lang="en-US" dirty="0"/>
          </a:p>
          <a:p>
            <a:pPr marL="228600" indent="-228600">
              <a:buAutoNum type="arabicPeriod"/>
            </a:pPr>
            <a:r>
              <a:rPr lang="en-US" dirty="0" err="1"/>
              <a:t>CrudRepository</a:t>
            </a:r>
            <a:r>
              <a:rPr lang="en-US" dirty="0"/>
              <a:t>&lt;T,ID&gt;, </a:t>
            </a:r>
          </a:p>
          <a:p>
            <a:pPr marL="228600" indent="-228600">
              <a:buAutoNum type="arabicPeriod"/>
            </a:pPr>
            <a:r>
              <a:rPr lang="en-US" dirty="0" err="1"/>
              <a:t>PagingAndSortingRepository</a:t>
            </a:r>
            <a:r>
              <a:rPr lang="en-US" dirty="0"/>
              <a:t>&lt;T,ID&gt;, </a:t>
            </a:r>
          </a:p>
          <a:p>
            <a:pPr marL="228600" indent="-228600">
              <a:buAutoNum type="arabicPeriod"/>
            </a:pPr>
            <a:r>
              <a:rPr lang="en-US" dirty="0" err="1"/>
              <a:t>QueryByExampleExecutor</a:t>
            </a:r>
            <a:r>
              <a:rPr lang="en-US" dirty="0"/>
              <a:t>&lt;T&gt;, </a:t>
            </a:r>
          </a:p>
          <a:p>
            <a:pPr marL="228600" indent="-228600">
              <a:buAutoNum type="arabicPeriod"/>
            </a:pPr>
            <a:r>
              <a:rPr lang="en-US" dirty="0"/>
              <a:t>Repository&lt;T,ID&gt;</a:t>
            </a:r>
          </a:p>
          <a:p>
            <a:endParaRPr lang="en-US" dirty="0"/>
          </a:p>
          <a:p>
            <a:r>
              <a:rPr lang="en-US" dirty="0"/>
              <a:t>The </a:t>
            </a:r>
            <a:r>
              <a:rPr lang="en-US" dirty="0" err="1"/>
              <a:t>CrudRepository</a:t>
            </a:r>
            <a:r>
              <a:rPr lang="en-US" dirty="0"/>
              <a:t> provides sophisticated CRUD functionality for the entity class that is being managed.  One can add additional query methods to this repository interface. Below listed are few methods of </a:t>
            </a:r>
            <a:r>
              <a:rPr lang="en-US" dirty="0" err="1"/>
              <a:t>CrudRepository</a:t>
            </a:r>
            <a:r>
              <a:rPr lang="en-US" dirty="0"/>
              <a:t>:</a:t>
            </a:r>
          </a:p>
          <a:p>
            <a:endParaRPr lang="en-US" dirty="0"/>
          </a:p>
          <a:p>
            <a:pPr marL="228600" indent="-228600">
              <a:buAutoNum type="arabicPeriod"/>
            </a:pPr>
            <a:r>
              <a:rPr lang="en-US" b="1" dirty="0"/>
              <a:t>count()</a:t>
            </a:r>
            <a:r>
              <a:rPr lang="en-US" dirty="0"/>
              <a:t> returns a long representing the total number of unfiltered entities extending T.</a:t>
            </a:r>
          </a:p>
          <a:p>
            <a:pPr marL="228600" indent="-228600">
              <a:buAutoNum type="arabicPeriod"/>
            </a:pPr>
            <a:r>
              <a:rPr lang="en-US" b="1" dirty="0"/>
              <a:t>delete(T)</a:t>
            </a:r>
            <a:r>
              <a:rPr lang="en-US" dirty="0"/>
              <a:t> and </a:t>
            </a:r>
            <a:r>
              <a:rPr lang="en-US" b="1" dirty="0"/>
              <a:t>delete(ID)</a:t>
            </a:r>
            <a:r>
              <a:rPr lang="en-US" dirty="0"/>
              <a:t> delete the single, specified entity and </a:t>
            </a:r>
            <a:r>
              <a:rPr lang="en-US" b="1" dirty="0" err="1"/>
              <a:t>deleteAll</a:t>
            </a:r>
            <a:r>
              <a:rPr lang="en-US" b="1" dirty="0"/>
              <a:t>()</a:t>
            </a:r>
            <a:r>
              <a:rPr lang="en-US" dirty="0"/>
              <a:t> deletes every entity of that type.</a:t>
            </a:r>
          </a:p>
          <a:p>
            <a:pPr marL="228600" indent="-228600">
              <a:buAutoNum type="arabicPeriod"/>
            </a:pPr>
            <a:r>
              <a:rPr lang="en-US" b="1" dirty="0"/>
              <a:t>exists(ID)</a:t>
            </a:r>
            <a:r>
              <a:rPr lang="en-US" dirty="0"/>
              <a:t> returns a boolean indicating whether the entity of this type with the given key exists.</a:t>
            </a:r>
          </a:p>
          <a:p>
            <a:pPr marL="228600" indent="-228600">
              <a:buAutoNum type="arabicPeriod"/>
            </a:pPr>
            <a:r>
              <a:rPr lang="en-US" b="1" dirty="0" err="1"/>
              <a:t>findAll</a:t>
            </a:r>
            <a:r>
              <a:rPr lang="en-US" b="1" dirty="0"/>
              <a:t>()</a:t>
            </a:r>
            <a:r>
              <a:rPr lang="en-US" dirty="0"/>
              <a:t> returns all entities of type T, whereas </a:t>
            </a:r>
            <a:r>
              <a:rPr lang="en-US" b="1" dirty="0" err="1"/>
              <a:t>findOne</a:t>
            </a:r>
            <a:r>
              <a:rPr lang="en-US" b="1" dirty="0"/>
              <a:t>(ID)</a:t>
            </a:r>
            <a:r>
              <a:rPr lang="en-US" dirty="0"/>
              <a:t> retrieves a single entity of type T given its key.</a:t>
            </a:r>
          </a:p>
          <a:p>
            <a:pPr marL="228600" indent="-228600">
              <a:buAutoNum type="arabicPeriod"/>
            </a:pPr>
            <a:r>
              <a:rPr lang="en-US" b="1" dirty="0"/>
              <a:t>save(T)</a:t>
            </a:r>
            <a:r>
              <a:rPr lang="en-US" dirty="0"/>
              <a:t> saves the given entity (insert or update).</a:t>
            </a:r>
          </a:p>
          <a:p>
            <a:endParaRPr lang="en-US" dirty="0"/>
          </a:p>
          <a:p>
            <a:r>
              <a:rPr lang="en-US" b="1" dirty="0"/>
              <a:t>Note</a:t>
            </a:r>
            <a:r>
              <a:rPr lang="en-US" dirty="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a:latin typeface="Arial" pitchFamily="34" charset="0"/>
                <a:cs typeface="Arial" pitchFamily="34" charset="0"/>
              </a:rPr>
              <a:t>Option 1</a:t>
            </a:r>
          </a:p>
          <a:p>
            <a:pPr marL="228600" indent="-228600">
              <a:spcBef>
                <a:spcPct val="50000"/>
              </a:spcBef>
              <a:buAutoNum type="arabicPeriod"/>
            </a:pPr>
            <a:r>
              <a:rPr lang="en-US" sz="1000" b="0" dirty="0">
                <a:latin typeface="Arial" pitchFamily="34" charset="0"/>
                <a:cs typeface="Arial" pitchFamily="34" charset="0"/>
              </a:rPr>
              <a:t>True</a:t>
            </a: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p>
          <a:p>
            <a:endParaRPr lang="en-US" dirty="0"/>
          </a:p>
          <a:p>
            <a:r>
              <a:rPr lang="en-US" dirty="0"/>
              <a:t>The </a:t>
            </a:r>
            <a:r>
              <a:rPr lang="en-US" dirty="0" err="1"/>
              <a:t>EntityManager</a:t>
            </a:r>
            <a:r>
              <a:rPr lang="en-US" dirty="0"/>
              <a:t> instance is managed automatically, and can be injected into data access object (DAO) beans; so there is no need to manage it manually in application 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a:t>Integration Steps:</a:t>
            </a:r>
          </a:p>
          <a:p>
            <a:endParaRPr lang="en-US" dirty="0"/>
          </a:p>
          <a:p>
            <a:r>
              <a:rPr lang="en-US" dirty="0"/>
              <a:t>Integration work starts by defining or obtaining data source, which contains information about database </a:t>
            </a:r>
            <a:r>
              <a:rPr lang="en-US" dirty="0" err="1"/>
              <a:t>url</a:t>
            </a:r>
            <a:r>
              <a:rPr lang="en-US" dirty="0"/>
              <a:t>, username and password etc.</a:t>
            </a:r>
          </a:p>
          <a:p>
            <a:endParaRPr lang="en-US" dirty="0"/>
          </a:p>
          <a:p>
            <a:r>
              <a:rPr lang="en-US" dirty="0"/>
              <a:t>Once we obtain </a:t>
            </a:r>
            <a:r>
              <a:rPr lang="en-US" dirty="0" err="1"/>
              <a:t>datasource</a:t>
            </a:r>
            <a:r>
              <a:rPr lang="en-US" dirty="0"/>
              <a:t>, we need configure JPA related beans using spring configuration file. It is used in place of persistence.xml. </a:t>
            </a:r>
          </a:p>
          <a:p>
            <a:r>
              <a:rPr lang="en-US" dirty="0"/>
              <a:t>Though, we are using Spring configuration, optionally we may keep </a:t>
            </a:r>
            <a:r>
              <a:rPr lang="en-US" b="0" dirty="0"/>
              <a:t>persistence.xml</a:t>
            </a:r>
            <a:r>
              <a:rPr lang="en-US" dirty="0"/>
              <a:t> just to hold the persistence unit reference. This file may be required in future for advance configuration like caching etc.</a:t>
            </a:r>
          </a:p>
          <a:p>
            <a:endParaRPr lang="en-US" dirty="0"/>
          </a:p>
          <a:p>
            <a:r>
              <a:rPr lang="en-US" dirty="0"/>
              <a:t>After configuration, we can work on entities and DAO repositories to define our database operations. </a:t>
            </a:r>
          </a:p>
          <a:p>
            <a:endParaRPr lang="en-US" dirty="0"/>
          </a:p>
          <a:p>
            <a:r>
              <a:rPr lang="en-US" dirty="0"/>
              <a:t>Finally, we need to instruct Spring to handle all JPA transactions, this is done by annotating and marking DAO operations with various transaction demarcation policies.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step towards integration is making </a:t>
            </a:r>
            <a:r>
              <a:rPr lang="en-US" dirty="0" err="1"/>
              <a:t>DataSource</a:t>
            </a:r>
            <a:r>
              <a:rPr lang="en-US" dirty="0"/>
              <a:t> available to application. There are different ways to do this. For example, if you need to simply test something quickly, use Spring's </a:t>
            </a:r>
            <a:r>
              <a:rPr lang="en-US" dirty="0" err="1"/>
              <a:t>DriverManagerDataSource</a:t>
            </a:r>
            <a:r>
              <a:rPr lang="en-US" dirty="0"/>
              <a:t> to create a </a:t>
            </a:r>
            <a:r>
              <a:rPr lang="en-US" dirty="0" err="1"/>
              <a:t>DataSource</a:t>
            </a:r>
            <a:r>
              <a:rPr lang="en-US" dirty="0"/>
              <a:t> on demand. </a:t>
            </a:r>
          </a:p>
          <a:p>
            <a:endParaRPr lang="en-US" dirty="0"/>
          </a:p>
          <a:p>
            <a:r>
              <a:rPr lang="en-US" dirty="0"/>
              <a:t>However, this creates a simple </a:t>
            </a:r>
            <a:r>
              <a:rPr lang="en-US" dirty="0" err="1"/>
              <a:t>DataSource</a:t>
            </a:r>
            <a:r>
              <a:rPr lang="en-US" dirty="0"/>
              <a:t> that returns single use Connections. Because it does not provide connection pooling, it really should never be used in a production environment. For production environment, we can define </a:t>
            </a:r>
            <a:r>
              <a:rPr lang="en-US" dirty="0" err="1"/>
              <a:t>DataSource</a:t>
            </a:r>
            <a:r>
              <a:rPr lang="en-US" dirty="0"/>
              <a:t> on server and look that </a:t>
            </a:r>
            <a:r>
              <a:rPr lang="en-US" dirty="0" err="1"/>
              <a:t>DataSource</a:t>
            </a:r>
            <a:r>
              <a:rPr lang="en-US" dirty="0"/>
              <a:t> up application. </a:t>
            </a:r>
          </a:p>
          <a:p>
            <a:endParaRPr lang="en-US" dirty="0"/>
          </a:p>
          <a:p>
            <a:r>
              <a:rPr lang="en-US" dirty="0"/>
              <a:t>Slide demonstrates both ways to acquire </a:t>
            </a:r>
            <a:r>
              <a:rPr lang="en-US" dirty="0" err="1"/>
              <a:t>DataSource</a:t>
            </a:r>
            <a:r>
              <a:rPr lang="en-US" dirty="0"/>
              <a:t> for our application.</a:t>
            </a:r>
          </a:p>
          <a:p>
            <a:endParaRPr lang="en-US" dirty="0"/>
          </a:p>
          <a:p>
            <a:r>
              <a:rPr lang="en-US" b="1" dirty="0"/>
              <a:t>Note</a:t>
            </a:r>
            <a:r>
              <a:rPr lang="en-US" dirty="0"/>
              <a:t>: To keep configuration simple, we are using </a:t>
            </a:r>
            <a:r>
              <a:rPr lang="en-US" dirty="0" err="1"/>
              <a:t>DriverManagerDataSource</a:t>
            </a:r>
            <a:r>
              <a:rPr lang="en-US" dirty="0"/>
              <a:t> throughout integration.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a:t>The </a:t>
            </a:r>
            <a:r>
              <a:rPr lang="en-US" dirty="0" err="1"/>
              <a:t>EntityManagerFactory</a:t>
            </a:r>
            <a:r>
              <a:rPr lang="en-US" dirty="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a:t>Spring allows two ways to define this object, either application managed or container managed (used throughout this integration). </a:t>
            </a:r>
          </a:p>
          <a:p>
            <a:pPr algn="just">
              <a:spcBef>
                <a:spcPct val="0"/>
              </a:spcBef>
            </a:pPr>
            <a:endParaRPr lang="en-US" dirty="0"/>
          </a:p>
          <a:p>
            <a:pPr algn="just">
              <a:spcBef>
                <a:spcPct val="0"/>
              </a:spcBef>
            </a:pPr>
            <a:r>
              <a:rPr lang="en-US" dirty="0"/>
              <a:t>In addition to </a:t>
            </a:r>
            <a:r>
              <a:rPr lang="en-US" dirty="0" err="1"/>
              <a:t>EntityManagerFactory</a:t>
            </a:r>
            <a:r>
              <a:rPr lang="en-US" dirty="0"/>
              <a:t>, Spring provides </a:t>
            </a:r>
            <a:r>
              <a:rPr lang="en-US" dirty="0" err="1"/>
              <a:t>TransactionManager</a:t>
            </a:r>
            <a:r>
              <a:rPr lang="en-US" dirty="0"/>
              <a:t> to handle all JPA related transactions, which is also configured inside spring configuration file. </a:t>
            </a:r>
          </a:p>
          <a:p>
            <a:pPr algn="just">
              <a:spcBef>
                <a:spcPct val="0"/>
              </a:spcBef>
            </a:pPr>
            <a:endParaRPr lang="en-US" dirty="0"/>
          </a:p>
          <a:p>
            <a:pPr algn="just">
              <a:spcBef>
                <a:spcPct val="0"/>
              </a:spcBef>
            </a:pPr>
            <a:r>
              <a:rPr lang="en-US" dirty="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Spring offers three different options to configure </a:t>
            </a:r>
            <a:r>
              <a:rPr lang="en-US" dirty="0" err="1"/>
              <a:t>EntityManagerFactory</a:t>
            </a:r>
            <a:r>
              <a:rPr lang="en-US" dirty="0"/>
              <a:t> in a project:</a:t>
            </a:r>
          </a:p>
          <a:p>
            <a:pPr marL="228600" indent="-228600">
              <a:buAutoNum type="arabicPeriod"/>
            </a:pPr>
            <a:r>
              <a:rPr lang="en-US" dirty="0" err="1"/>
              <a:t>LocalEntityManagerFactoryBean</a:t>
            </a:r>
            <a:endParaRPr lang="en-US" dirty="0"/>
          </a:p>
          <a:p>
            <a:pPr marL="228600" indent="-228600">
              <a:buAutoNum type="arabicPeriod"/>
            </a:pPr>
            <a:r>
              <a:rPr lang="en-US" dirty="0" err="1"/>
              <a:t>EntityManagerFactory</a:t>
            </a:r>
            <a:r>
              <a:rPr lang="en-US" dirty="0"/>
              <a:t> lookup over JNDI</a:t>
            </a:r>
          </a:p>
          <a:p>
            <a:pPr marL="228600" indent="-228600">
              <a:buAutoNum type="arabicPeriod"/>
            </a:pPr>
            <a:r>
              <a:rPr lang="en-US" dirty="0" err="1"/>
              <a:t>LocalContainerEntityManagerFactoryBean</a:t>
            </a:r>
            <a:endParaRPr lang="en-US" dirty="0"/>
          </a:p>
          <a:p>
            <a:pPr algn="just">
              <a:spcBef>
                <a:spcPct val="0"/>
              </a:spcBef>
            </a:pPr>
            <a:endParaRPr lang="en-US" dirty="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a:p>
          <a:p>
            <a:pPr algn="just">
              <a:spcBef>
                <a:spcPct val="0"/>
              </a:spcBef>
            </a:pPr>
            <a:r>
              <a:rPr lang="en-US" b="1" dirty="0" err="1"/>
              <a:t>LocalContainerEntityManagerFactoryBean</a:t>
            </a:r>
            <a:r>
              <a:rPr lang="en-US" b="1" dirty="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p>
          <a:p>
            <a:pPr algn="just">
              <a:spcBef>
                <a:spcPct val="0"/>
              </a:spcBef>
            </a:pPr>
            <a:endParaRPr lang="en-US" dirty="0"/>
          </a:p>
          <a:p>
            <a:pPr algn="just">
              <a:spcBef>
                <a:spcPct val="0"/>
              </a:spcBef>
            </a:pPr>
            <a:r>
              <a:rPr lang="en-US" dirty="0"/>
              <a:t>Above slide demonstrates on how to configure </a:t>
            </a:r>
            <a:r>
              <a:rPr lang="en-US" dirty="0" err="1"/>
              <a:t>LocalContainerEntityManagerFactoryBean</a:t>
            </a:r>
            <a:r>
              <a:rPr lang="en-US" dirty="0"/>
              <a:t> in spring XML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a:t>Configuration of </a:t>
            </a:r>
            <a:r>
              <a:rPr lang="en-US" b="1" dirty="0" err="1"/>
              <a:t>TransactionManager</a:t>
            </a:r>
            <a:r>
              <a:rPr lang="en-US" b="1" dirty="0"/>
              <a:t>:</a:t>
            </a:r>
          </a:p>
          <a:p>
            <a:pPr marL="190500" indent="-190500">
              <a:spcBef>
                <a:spcPct val="0"/>
              </a:spcBef>
            </a:pPr>
            <a:endParaRPr lang="en-US" dirty="0"/>
          </a:p>
          <a:p>
            <a:pPr>
              <a:spcBef>
                <a:spcPct val="0"/>
              </a:spcBef>
            </a:pPr>
            <a:r>
              <a:rPr lang="en-US" dirty="0"/>
              <a:t>Spring provides a class </a:t>
            </a:r>
            <a:r>
              <a:rPr lang="en-US" i="1" dirty="0" err="1"/>
              <a:t>org.springframework.orm.jpa.JpaTransactionManager</a:t>
            </a:r>
            <a:r>
              <a:rPr lang="en-US" i="1" dirty="0"/>
              <a:t> </a:t>
            </a:r>
            <a:r>
              <a:rPr lang="en-US" dirty="0"/>
              <a:t> to work with JPA specific transactions. Slide demonstrate how to configure this class in spring configuration file. It is required to inject </a:t>
            </a:r>
            <a:r>
              <a:rPr lang="en-US" dirty="0" err="1"/>
              <a:t>entitymanagerfactory</a:t>
            </a:r>
            <a:r>
              <a:rPr lang="en-US" dirty="0"/>
              <a:t> created in earlier step in this class using setter injection. </a:t>
            </a:r>
          </a:p>
          <a:p>
            <a:pPr>
              <a:spcBef>
                <a:spcPct val="0"/>
              </a:spcBef>
            </a:pPr>
            <a:endParaRPr lang="en-US" dirty="0"/>
          </a:p>
          <a:p>
            <a:pPr>
              <a:spcBef>
                <a:spcPct val="0"/>
              </a:spcBef>
            </a:pPr>
            <a:r>
              <a:rPr lang="en-US" dirty="0"/>
              <a:t>Basically all of JPA interactions will be wrapped in transaction by this </a:t>
            </a:r>
            <a:r>
              <a:rPr lang="en-US" dirty="0" err="1"/>
              <a:t>TransactionManager</a:t>
            </a:r>
            <a:r>
              <a:rPr lang="en-US" dirty="0"/>
              <a:t> and we are instructing spring to create a bean of this class for application transaction management.  </a:t>
            </a:r>
          </a:p>
          <a:p>
            <a:pPr>
              <a:spcBef>
                <a:spcPct val="0"/>
              </a:spcBef>
            </a:pPr>
            <a:endParaRPr lang="en-US" dirty="0"/>
          </a:p>
          <a:p>
            <a:pPr>
              <a:spcBef>
                <a:spcPct val="0"/>
              </a:spcBef>
            </a:pPr>
            <a:r>
              <a:rPr lang="en-US" dirty="0"/>
              <a:t>Once this transaction manager is made available, instead of opening and closing  transactions manually, we can instruct Spring to handle transaction using annotations. To do so, we must use </a:t>
            </a:r>
            <a:r>
              <a:rPr lang="en-US" b="1" dirty="0"/>
              <a:t>&lt;</a:t>
            </a:r>
            <a:r>
              <a:rPr lang="en-US" b="1" dirty="0" err="1"/>
              <a:t>tx:annotation-driven</a:t>
            </a:r>
            <a:r>
              <a:rPr lang="en-US" b="1" dirty="0"/>
              <a:t>/&gt; </a:t>
            </a:r>
            <a:r>
              <a:rPr lang="en-US" dirty="0"/>
              <a:t>injecting the transaction manager instance.  </a:t>
            </a:r>
          </a:p>
          <a:p>
            <a:pPr>
              <a:spcBef>
                <a:spcPct val="0"/>
              </a:spcBef>
            </a:pPr>
            <a:r>
              <a:rPr lang="en-US" dirty="0"/>
              <a:t> </a:t>
            </a:r>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2"/>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3"/>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9658502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279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98924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7942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99308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4/202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955309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098904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3"/>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40073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8466" y="-8468"/>
            <a:ext cx="9169804" cy="6874935"/>
            <a:chOff x="-8466" y="-8468"/>
            <a:chExt cx="9169804" cy="6874935"/>
          </a:xfrm>
        </p:grpSpPr>
        <p:cxnSp>
          <p:nvCxnSpPr>
            <p:cNvPr id="17" name="Straight Connector 16"/>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19"/>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Freeform 20"/>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21"/>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Freeform 23"/>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Freeform 24"/>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Freeform 2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25770090"/>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DDF080-5E8C-48AD-84E5-6C08B304C14E}" type="datetimeFigureOut">
              <a:rPr lang="en-US" dirty="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3164204526"/>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9482109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29703905"/>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260004369"/>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67154882"/>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8190646"/>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70DDF080-5E8C-48AD-84E5-6C08B304C14E}" type="datetimeFigureOut">
              <a:rPr lang="en-US" dirty="0"/>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2098673140"/>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75210172"/>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97968321"/>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720838390"/>
      </p:ext>
    </p:extLst>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17338028"/>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60942197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10945652"/>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DDF080-5E8C-48AD-84E5-6C08B304C14E}" type="datetimeFigureOut">
              <a:rPr lang="en-US" dirty="0"/>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7333891-D5E7-4C7B-BF1D-E855E53CB5A8}" type="slidenum">
              <a:rPr lang="en-US" dirty="0"/>
              <a:t>‹#›</a:t>
            </a:fld>
            <a:endParaRPr lang="en-US" dirty="0"/>
          </a:p>
        </p:txBody>
      </p:sp>
    </p:spTree>
    <p:extLst>
      <p:ext uri="{BB962C8B-B14F-4D97-AF65-F5344CB8AC3E}">
        <p14:creationId xmlns:p14="http://schemas.microsoft.com/office/powerpoint/2010/main" val="102515700"/>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57997475"/>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774113174"/>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737485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2"/>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505586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21843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10673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8085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3975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9.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name="think-cell Slide" r:id="rId27" imgW="360" imgH="360" progId="">
                  <p:embed/>
                </p:oleObj>
              </mc:Choice>
              <mc:Fallback>
                <p:oleObj name="think-cell Slide" r:id="rId27" imgW="360" imgH="36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4.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8467" y="-8468"/>
            <a:ext cx="9169805" cy="6874935"/>
            <a:chOff x="-8467" y="-8468"/>
            <a:chExt cx="9169805"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09599" y="609600"/>
            <a:ext cx="6347713"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05258" y="6041363"/>
            <a:ext cx="684132"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4/2022</a:t>
            </a:fld>
            <a:endParaRPr lang="en-US" dirty="0"/>
          </a:p>
        </p:txBody>
      </p:sp>
      <p:sp>
        <p:nvSpPr>
          <p:cNvPr id="5" name="Footer Placeholder 4"/>
          <p:cNvSpPr>
            <a:spLocks noGrp="1"/>
          </p:cNvSpPr>
          <p:nvPr>
            <p:ph type="ftr" sz="quarter" idx="3"/>
          </p:nvPr>
        </p:nvSpPr>
        <p:spPr>
          <a:xfrm>
            <a:off x="609599" y="6041363"/>
            <a:ext cx="4622973"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44676" y="6041363"/>
            <a:ext cx="512638"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98441532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hf sldNum="0"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45.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5.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fontScale="90000"/>
          </a:bodyPr>
          <a:lstStyle/>
          <a:p>
            <a:r>
              <a:rPr lang="en-US" b="0" dirty="0"/>
              <a:t>Basic </a:t>
            </a:r>
            <a:r>
              <a:rPr lang="en-US" b="0"/>
              <a:t>Spring </a:t>
            </a:r>
            <a:r>
              <a:rPr lang="en-US" dirty="0"/>
              <a:t>5</a:t>
            </a:r>
            <a:r>
              <a:rPr lang="en-US" b="0"/>
              <a:t>.0</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fontScale="90000"/>
          </a:bodyPr>
          <a:lstStyle/>
          <a:p>
            <a:r>
              <a:rPr lang="en-US" altLang="en-US" dirty="0"/>
              <a:t>Spring JPA Integration Steps -</a:t>
            </a:r>
            <a:r>
              <a:rPr lang="en-US" dirty="0"/>
              <a:t>Obtaining </a:t>
            </a:r>
            <a:r>
              <a:rPr lang="en-US" dirty="0" err="1"/>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a:p>
          <a:p>
            <a:r>
              <a:rPr lang="en-US" dirty="0"/>
              <a:t>JPA provides two annotations to inject </a:t>
            </a:r>
            <a:r>
              <a:rPr lang="en-US" dirty="0" err="1"/>
              <a:t>EntityManager</a:t>
            </a:r>
            <a:endParaRPr lang="en-US" dirty="0"/>
          </a:p>
          <a:p>
            <a:endParaRPr lang="en-US" dirty="0"/>
          </a:p>
          <a:p>
            <a:pPr lvl="1"/>
            <a:r>
              <a:rPr lang="en-US" dirty="0"/>
              <a:t>@</a:t>
            </a:r>
            <a:r>
              <a:rPr lang="en-US" dirty="0" err="1"/>
              <a:t>PersistenceUnit</a:t>
            </a:r>
            <a:r>
              <a:rPr lang="en-US" dirty="0"/>
              <a:t> – injects </a:t>
            </a:r>
            <a:r>
              <a:rPr lang="en-US" dirty="0" err="1"/>
              <a:t>EntityManagerFactory</a:t>
            </a:r>
            <a:endParaRPr lang="en-US" dirty="0"/>
          </a:p>
          <a:p>
            <a:pPr marL="3572" lvl="1" indent="0">
              <a:buNone/>
            </a:pPr>
            <a:endParaRPr lang="en-US" dirty="0"/>
          </a:p>
          <a:p>
            <a:pPr lvl="1"/>
            <a:r>
              <a:rPr lang="en-US" dirty="0"/>
              <a:t>@</a:t>
            </a:r>
            <a:r>
              <a:rPr lang="en-US" dirty="0" err="1"/>
              <a:t>PersistenceContext</a:t>
            </a:r>
            <a:r>
              <a:rPr lang="en-US" dirty="0"/>
              <a:t> – injects </a:t>
            </a:r>
            <a:r>
              <a:rPr lang="en-US" dirty="0" err="1"/>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pring JPA Integration -Demo</a:t>
            </a:r>
            <a:endParaRPr lang="en-US" sz="2400" dirty="0"/>
          </a:p>
        </p:txBody>
      </p:sp>
      <p:sp>
        <p:nvSpPr>
          <p:cNvPr id="2" name="Content Placeholder 1"/>
          <p:cNvSpPr>
            <a:spLocks noGrp="1"/>
          </p:cNvSpPr>
          <p:nvPr>
            <p:ph idx="1"/>
          </p:nvPr>
        </p:nvSpPr>
        <p:spPr/>
        <p:txBody>
          <a:bodyPr/>
          <a:lstStyle/>
          <a:p>
            <a:r>
              <a:rPr lang="en-US" dirty="0" err="1"/>
              <a:t>JPASpringMVC</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Spring Data JPA - Spring 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a:p>
          <a:p>
            <a:r>
              <a:rPr lang="en-US" dirty="0"/>
              <a:t>Traditional Spring JPA Integration</a:t>
            </a:r>
          </a:p>
          <a:p>
            <a:pPr marL="0" indent="0">
              <a:buNone/>
            </a:pPr>
            <a:endParaRPr lang="en-US" dirty="0"/>
          </a:p>
          <a:p>
            <a:r>
              <a:rPr lang="en-US" dirty="0"/>
              <a:t>Spring Data JPA: No need to write repository code</a:t>
            </a:r>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Spring DATA JPA -</a:t>
            </a:r>
            <a:r>
              <a:rPr lang="en-US" dirty="0"/>
              <a:t>Working with Spring Data JPA</a:t>
            </a:r>
          </a:p>
        </p:txBody>
      </p:sp>
      <p:sp>
        <p:nvSpPr>
          <p:cNvPr id="3" name="Content Placeholder 2"/>
          <p:cNvSpPr>
            <a:spLocks noGrp="1"/>
          </p:cNvSpPr>
          <p:nvPr>
            <p:ph idx="1"/>
          </p:nvPr>
        </p:nvSpPr>
        <p:spPr>
          <a:xfrm>
            <a:off x="298516" y="995424"/>
            <a:ext cx="8845484" cy="2257062"/>
          </a:xfrm>
        </p:spPr>
        <p:txBody>
          <a:bodyPr>
            <a:normAutofit fontScale="77500" lnSpcReduction="20000"/>
          </a:bodyPr>
          <a:lstStyle/>
          <a:p>
            <a:endParaRPr lang="en-US" dirty="0"/>
          </a:p>
          <a:p>
            <a:r>
              <a:rPr lang="en-US" dirty="0"/>
              <a:t>To use repository from Spring Data, create an interface to extend</a:t>
            </a:r>
          </a:p>
          <a:p>
            <a:pPr marL="0" indent="0">
              <a:buNone/>
            </a:pPr>
            <a:r>
              <a:rPr lang="en-US" dirty="0"/>
              <a:t>    following interface, which specifies no methods to implement:</a:t>
            </a:r>
          </a:p>
          <a:p>
            <a:pPr lvl="1"/>
            <a:r>
              <a:rPr lang="en-US" dirty="0"/>
              <a:t>  </a:t>
            </a:r>
            <a:r>
              <a:rPr lang="en-US" dirty="0" err="1"/>
              <a:t>org.springframework.data.repository.Repository</a:t>
            </a:r>
            <a:r>
              <a:rPr lang="en-US" dirty="0"/>
              <a:t>&lt;T, ID extends</a:t>
            </a:r>
          </a:p>
          <a:p>
            <a:pPr marL="3572" lvl="1" indent="0">
              <a:buNone/>
            </a:pPr>
            <a:r>
              <a:rPr lang="en-US" dirty="0"/>
              <a:t>           Serializable&gt;</a:t>
            </a:r>
          </a:p>
          <a:p>
            <a:r>
              <a:rPr lang="en-US" dirty="0"/>
              <a:t>The generic type parameters: </a:t>
            </a:r>
          </a:p>
          <a:p>
            <a:pPr lvl="1"/>
            <a:r>
              <a:rPr lang="en-US" dirty="0"/>
              <a:t>  T : Type of domain entity class </a:t>
            </a:r>
          </a:p>
          <a:p>
            <a:pPr lvl="1"/>
            <a:r>
              <a:rPr lang="en-US" dirty="0"/>
              <a:t>  ID: ID type of the domain entity class</a:t>
            </a:r>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Long </a:t>
            </a:r>
            <a:r>
              <a:rPr lang="en-US" sz="1600" dirty="0" err="1">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a:solidFill>
                  <a:schemeClr val="tx1"/>
                </a:solidFill>
                <a:latin typeface="Arial" pitchFamily="34" charset="0"/>
                <a:cs typeface="Arial" pitchFamily="34" charset="0"/>
              </a:rPr>
              <a:t>public interface </a:t>
            </a:r>
            <a:r>
              <a:rPr lang="en-US" sz="1600" dirty="0" err="1">
                <a:solidFill>
                  <a:schemeClr val="tx1"/>
                </a:solidFill>
                <a:latin typeface="Arial" pitchFamily="34" charset="0"/>
                <a:cs typeface="Arial" pitchFamily="34" charset="0"/>
              </a:rPr>
              <a:t>StudentRepository</a:t>
            </a:r>
            <a:r>
              <a:rPr lang="en-US" sz="1600" dirty="0">
                <a:solidFill>
                  <a:schemeClr val="tx1"/>
                </a:solidFill>
                <a:latin typeface="Arial" pitchFamily="34" charset="0"/>
                <a:cs typeface="Arial" pitchFamily="34" charset="0"/>
              </a:rPr>
              <a:t> extends               	        </a:t>
            </a:r>
            <a:r>
              <a:rPr lang="en-US" sz="1600" b="1" dirty="0" err="1">
                <a:solidFill>
                  <a:schemeClr val="tx1"/>
                </a:solidFill>
                <a:latin typeface="Arial" pitchFamily="34" charset="0"/>
                <a:cs typeface="Arial" pitchFamily="34" charset="0"/>
              </a:rPr>
              <a:t>JpaRepository</a:t>
            </a:r>
            <a:r>
              <a:rPr lang="en-US" sz="1600" b="1" dirty="0">
                <a:solidFill>
                  <a:schemeClr val="tx1"/>
                </a:solidFill>
                <a:latin typeface="Arial" pitchFamily="34" charset="0"/>
                <a:cs typeface="Arial" pitchFamily="34" charset="0"/>
              </a:rPr>
              <a:t>&lt;</a:t>
            </a:r>
            <a:r>
              <a:rPr lang="en-US" sz="1600" b="1" dirty="0" err="1">
                <a:solidFill>
                  <a:schemeClr val="tx1"/>
                </a:solidFill>
                <a:latin typeface="Arial" pitchFamily="34" charset="0"/>
                <a:cs typeface="Arial" pitchFamily="34" charset="0"/>
              </a:rPr>
              <a:t>Student,Long</a:t>
            </a:r>
            <a:r>
              <a:rPr lang="en-US" sz="1600" b="1" dirty="0">
                <a:solidFill>
                  <a:schemeClr val="tx1"/>
                </a:solidFill>
                <a:latin typeface="Arial" pitchFamily="34" charset="0"/>
                <a:cs typeface="Arial" pitchFamily="34" charset="0"/>
              </a:rPr>
              <a:t>&gt; </a:t>
            </a:r>
            <a:r>
              <a:rPr lang="en-US" sz="1600" dirty="0">
                <a:solidFill>
                  <a:schemeClr val="tx1"/>
                </a:solidFill>
                <a:latin typeface="Arial" pitchFamily="34" charset="0"/>
                <a:cs typeface="Arial" pitchFamily="34" charset="0"/>
              </a:rPr>
              <a:t>{</a:t>
            </a:r>
          </a:p>
          <a:p>
            <a:pPr lvl="1">
              <a:lnSpc>
                <a:spcPct val="135000"/>
              </a:lnSpc>
            </a:pP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a:t>
            </a: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pring Data JPA -Demo</a:t>
            </a:r>
            <a:endParaRPr lang="en-US" sz="2400" dirty="0"/>
          </a:p>
        </p:txBody>
      </p:sp>
      <p:sp>
        <p:nvSpPr>
          <p:cNvPr id="2" name="Content Placeholder 1"/>
          <p:cNvSpPr>
            <a:spLocks noGrp="1"/>
          </p:cNvSpPr>
          <p:nvPr>
            <p:ph idx="1"/>
          </p:nvPr>
        </p:nvSpPr>
        <p:spPr/>
        <p:txBody>
          <a:bodyPr/>
          <a:lstStyle/>
          <a:p>
            <a:r>
              <a:rPr lang="en-US" dirty="0"/>
              <a:t>Refer Demo Folder</a:t>
            </a:r>
          </a:p>
        </p:txBody>
      </p:sp>
    </p:spTree>
    <p:extLst>
      <p:ext uri="{BB962C8B-B14F-4D97-AF65-F5344CB8AC3E}">
        <p14:creationId xmlns:p14="http://schemas.microsoft.com/office/powerpoint/2010/main" val="244885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Refer Lab Book</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a:p>
          <a:p>
            <a:r>
              <a:rPr lang="en-US" dirty="0"/>
              <a:t>In this lesson, you have learnt:</a:t>
            </a:r>
          </a:p>
          <a:p>
            <a:endParaRPr lang="en-US" dirty="0"/>
          </a:p>
          <a:p>
            <a:pPr lvl="1"/>
            <a:r>
              <a:rPr lang="en-US" dirty="0"/>
              <a:t>  Spring support for JPA </a:t>
            </a:r>
          </a:p>
          <a:p>
            <a:pPr lvl="1"/>
            <a:endParaRPr lang="en-US" dirty="0"/>
          </a:p>
          <a:p>
            <a:pPr lvl="1"/>
            <a:r>
              <a:rPr lang="en-US" dirty="0"/>
              <a:t>  How to integrate Spring and JPA</a:t>
            </a:r>
          </a:p>
          <a:p>
            <a:pPr lvl="1"/>
            <a:endParaRPr lang="en-US" dirty="0"/>
          </a:p>
          <a:p>
            <a:pPr lvl="1"/>
            <a:r>
              <a:rPr lang="en-US" dirty="0"/>
              <a:t>  How to work with Spring Data repositories</a:t>
            </a:r>
          </a:p>
          <a:p>
            <a:pPr marL="0" indent="0">
              <a:buNone/>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Review Question</a:t>
            </a:r>
          </a:p>
        </p:txBody>
      </p:sp>
      <p:sp>
        <p:nvSpPr>
          <p:cNvPr id="4" name="Content Placeholder 3"/>
          <p:cNvSpPr>
            <a:spLocks noGrp="1"/>
          </p:cNvSpPr>
          <p:nvPr>
            <p:ph idx="1"/>
          </p:nvPr>
        </p:nvSpPr>
        <p:spPr/>
        <p:txBody>
          <a:bodyPr/>
          <a:lstStyle/>
          <a:p>
            <a:endParaRPr lang="en-US" dirty="0"/>
          </a:p>
          <a:p>
            <a:r>
              <a:rPr lang="en-US" dirty="0"/>
              <a:t>Question 1 Which one of the following is valid type</a:t>
            </a:r>
          </a:p>
          <a:p>
            <a:pPr marL="0" indent="0">
              <a:buNone/>
            </a:pPr>
            <a:r>
              <a:rPr lang="en-US" dirty="0"/>
              <a:t>     of entity manager in JPA?</a:t>
            </a:r>
          </a:p>
          <a:p>
            <a:pPr marL="0" indent="0">
              <a:buNone/>
            </a:pPr>
            <a:endParaRPr lang="en-US" dirty="0"/>
          </a:p>
          <a:p>
            <a:pPr lvl="3"/>
            <a:r>
              <a:rPr lang="en-US" dirty="0"/>
              <a:t>Option 1: Container managed</a:t>
            </a:r>
          </a:p>
          <a:p>
            <a:pPr lvl="3"/>
            <a:r>
              <a:rPr lang="en-US" dirty="0"/>
              <a:t>Option 2: JVM Managed </a:t>
            </a:r>
          </a:p>
          <a:p>
            <a:pPr lvl="3"/>
            <a:r>
              <a:rPr lang="en-US" dirty="0"/>
              <a:t>Option 3: Server Managed</a:t>
            </a:r>
          </a:p>
          <a:p>
            <a:pPr marL="174625" lvl="1" indent="0">
              <a:buNone/>
            </a:pPr>
            <a:endParaRPr lang="en-US" dirty="0"/>
          </a:p>
          <a:p>
            <a:r>
              <a:rPr lang="en-US" dirty="0"/>
              <a:t>Question 2 </a:t>
            </a:r>
            <a:r>
              <a:rPr lang="en-US" dirty="0" err="1"/>
              <a:t>LocalEntityManagerFactoryBean</a:t>
            </a:r>
            <a:r>
              <a:rPr lang="en-US" dirty="0"/>
              <a:t> doesn't</a:t>
            </a:r>
          </a:p>
          <a:p>
            <a:pPr marL="0" indent="0">
              <a:buNone/>
            </a:pPr>
            <a:r>
              <a:rPr lang="en-US" dirty="0"/>
              <a:t>     allow you to use a Spring managed </a:t>
            </a:r>
            <a:r>
              <a:rPr lang="en-US" dirty="0" err="1"/>
              <a:t>DataSource</a:t>
            </a:r>
            <a:endParaRPr lang="en-US" dirty="0"/>
          </a:p>
          <a:p>
            <a:pPr marL="0" indent="0">
              <a:buNone/>
            </a:pPr>
            <a:r>
              <a:rPr lang="en-US" dirty="0"/>
              <a:t>    instance.</a:t>
            </a:r>
          </a:p>
          <a:p>
            <a:pPr marL="0" indent="0">
              <a:buNone/>
            </a:pPr>
            <a:endParaRPr lang="en-US" dirty="0"/>
          </a:p>
          <a:p>
            <a:pPr lvl="3"/>
            <a:r>
              <a:rPr lang="en-US" dirty="0"/>
              <a:t>True/False</a:t>
            </a: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pPr>
              <a:lnSpc>
                <a:spcPct val="150000"/>
              </a:lnSpc>
            </a:pPr>
            <a:endParaRPr lang="en-US" dirty="0"/>
          </a:p>
          <a:p>
            <a:pPr>
              <a:lnSpc>
                <a:spcPct val="150000"/>
              </a:lnSpc>
            </a:pPr>
            <a:r>
              <a:rPr lang="en-US" dirty="0"/>
              <a:t>After completing this lesson, participants will be able to understand: </a:t>
            </a:r>
          </a:p>
          <a:p>
            <a:pPr lvl="1">
              <a:lnSpc>
                <a:spcPct val="150000"/>
              </a:lnSpc>
            </a:pPr>
            <a:r>
              <a:rPr lang="en-US" sz="2000" dirty="0"/>
              <a:t>  Spring support for JPA </a:t>
            </a:r>
          </a:p>
          <a:p>
            <a:pPr lvl="1">
              <a:lnSpc>
                <a:spcPct val="150000"/>
              </a:lnSpc>
            </a:pPr>
            <a:r>
              <a:rPr lang="en-US" sz="2000" dirty="0"/>
              <a:t>  Implementing Spring JPA integration</a:t>
            </a:r>
          </a:p>
          <a:p>
            <a:pPr lvl="1">
              <a:lnSpc>
                <a:spcPct val="150000"/>
              </a:lnSpc>
            </a:pPr>
            <a:r>
              <a:rPr lang="en-US" sz="2000" dirty="0"/>
              <a:t>  Spring Data JP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Spring Support for JPA -Spring 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a:p>
          <a:p>
            <a:r>
              <a:rPr lang="en-US" dirty="0"/>
              <a:t>The Spring Framework supports integration with Hibernate, Java</a:t>
            </a:r>
          </a:p>
          <a:p>
            <a:pPr marL="0" indent="0">
              <a:buNone/>
            </a:pPr>
            <a:r>
              <a:rPr lang="en-US" dirty="0"/>
              <a:t>    Persistence API (JPA) for </a:t>
            </a:r>
          </a:p>
          <a:p>
            <a:pPr lvl="4"/>
            <a:r>
              <a:rPr lang="en-US" sz="1800" dirty="0"/>
              <a:t>resource management, </a:t>
            </a:r>
          </a:p>
          <a:p>
            <a:pPr lvl="4"/>
            <a:r>
              <a:rPr lang="en-US" sz="1800" dirty="0"/>
              <a:t>data access object (DAO) implementations, and </a:t>
            </a:r>
          </a:p>
          <a:p>
            <a:pPr lvl="4"/>
            <a:r>
              <a:rPr lang="en-US" sz="1800" dirty="0"/>
              <a:t>transaction strategies</a:t>
            </a:r>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Spring Support for JPA -Why JPA with Spring?</a:t>
            </a:r>
          </a:p>
        </p:txBody>
      </p:sp>
      <p:sp>
        <p:nvSpPr>
          <p:cNvPr id="6" name="Content Placeholder 5"/>
          <p:cNvSpPr>
            <a:spLocks noGrp="1"/>
          </p:cNvSpPr>
          <p:nvPr>
            <p:ph idx="1"/>
          </p:nvPr>
        </p:nvSpPr>
        <p:spPr>
          <a:xfrm>
            <a:off x="298516" y="1250066"/>
            <a:ext cx="8323934" cy="4888451"/>
          </a:xfrm>
        </p:spPr>
        <p:txBody>
          <a:bodyPr/>
          <a:lstStyle/>
          <a:p>
            <a:endParaRPr lang="en-US" dirty="0"/>
          </a:p>
          <a:p>
            <a:r>
              <a:rPr lang="en-US" dirty="0"/>
              <a:t>Spring benefits to JPA:</a:t>
            </a:r>
          </a:p>
          <a:p>
            <a:endParaRPr lang="en-US" dirty="0"/>
          </a:p>
          <a:p>
            <a:pPr lvl="1"/>
            <a:r>
              <a:rPr lang="en-US" dirty="0"/>
              <a:t>  Easy and quick persistence configuration</a:t>
            </a:r>
          </a:p>
          <a:p>
            <a:pPr lvl="1"/>
            <a:endParaRPr lang="en-US" dirty="0"/>
          </a:p>
          <a:p>
            <a:pPr lvl="1"/>
            <a:r>
              <a:rPr lang="en-US" dirty="0"/>
              <a:t>  Automatic </a:t>
            </a:r>
            <a:r>
              <a:rPr lang="en-US" dirty="0" err="1"/>
              <a:t>EntityManager</a:t>
            </a:r>
            <a:r>
              <a:rPr lang="en-US" dirty="0"/>
              <a:t> management</a:t>
            </a:r>
          </a:p>
          <a:p>
            <a:pPr lvl="1"/>
            <a:endParaRPr lang="en-US" dirty="0"/>
          </a:p>
          <a:p>
            <a:pPr lvl="1"/>
            <a:r>
              <a:rPr lang="en-US" dirty="0"/>
              <a:t>  Simple testing</a:t>
            </a:r>
          </a:p>
          <a:p>
            <a:pPr lvl="1"/>
            <a:endParaRPr lang="en-US" dirty="0"/>
          </a:p>
          <a:p>
            <a:pPr lvl="1"/>
            <a:r>
              <a:rPr lang="en-US" dirty="0"/>
              <a:t>  Rich exception hierarchy with common data access exceptions</a:t>
            </a:r>
          </a:p>
          <a:p>
            <a:pPr lvl="1"/>
            <a:endParaRPr lang="en-US" dirty="0"/>
          </a:p>
          <a:p>
            <a:pPr lvl="1"/>
            <a:r>
              <a:rPr lang="en-US" dirty="0"/>
              <a:t>  Integrated 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fontScale="90000"/>
          </a:bodyPr>
          <a:lstStyle/>
          <a:p>
            <a:r>
              <a:rPr lang="en-US" dirty="0"/>
              <a:t>Implementing Spring JPA Integration -Steps 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fontScale="90000"/>
          </a:bodyPr>
          <a:lstStyle/>
          <a:p>
            <a:r>
              <a:rPr lang="en-US" altLang="en-US" dirty="0"/>
              <a:t>Spring JPA Integration Steps -</a:t>
            </a:r>
            <a:r>
              <a:rPr lang="en-US" dirty="0"/>
              <a:t>Creating or looking up for </a:t>
            </a:r>
            <a:r>
              <a:rPr lang="en-US" dirty="0" err="1"/>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a:p>
          <a:p>
            <a:r>
              <a:rPr lang="en-US" dirty="0"/>
              <a:t>Two ways to acquire </a:t>
            </a:r>
            <a:r>
              <a:rPr lang="en-US" dirty="0" err="1"/>
              <a:t>DataSource</a:t>
            </a:r>
            <a:r>
              <a:rPr lang="en-US" dirty="0"/>
              <a:t> </a:t>
            </a:r>
          </a:p>
          <a:p>
            <a:pPr lvl="1"/>
            <a:r>
              <a:rPr lang="en-US" dirty="0"/>
              <a:t> Using simple </a:t>
            </a:r>
            <a:r>
              <a:rPr lang="en-US" dirty="0" err="1"/>
              <a:t>DriverManagerDataSource</a:t>
            </a:r>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JNDI Lookup</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fontScale="90000"/>
          </a:bodyPr>
          <a:lstStyle/>
          <a:p>
            <a:r>
              <a:rPr lang="en-US" altLang="en-US" dirty="0"/>
              <a:t>Spring JPA Integration Steps -</a:t>
            </a:r>
            <a:r>
              <a:rPr lang="en-US" dirty="0"/>
              <a:t>Spring JPA  </a:t>
            </a:r>
            <a:br>
              <a:rPr lang="en-US" dirty="0"/>
            </a:br>
            <a:r>
              <a:rPr lang="en-US" dirty="0"/>
              <a:t>                                                      Configuration</a:t>
            </a:r>
          </a:p>
        </p:txBody>
      </p:sp>
      <p:sp>
        <p:nvSpPr>
          <p:cNvPr id="4" name="Content Placeholder 3"/>
          <p:cNvSpPr>
            <a:spLocks noGrp="1"/>
          </p:cNvSpPr>
          <p:nvPr>
            <p:ph idx="1"/>
          </p:nvPr>
        </p:nvSpPr>
        <p:spPr>
          <a:xfrm>
            <a:off x="298516" y="1215342"/>
            <a:ext cx="8845484" cy="4923175"/>
          </a:xfrm>
        </p:spPr>
        <p:txBody>
          <a:bodyPr/>
          <a:lstStyle/>
          <a:p>
            <a:endParaRPr lang="en-US" dirty="0"/>
          </a:p>
          <a:p>
            <a:r>
              <a:rPr lang="en-US" dirty="0"/>
              <a:t>Used 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p>
          <a:p>
            <a:pPr marL="1371600" lvl="4" indent="0">
              <a:buNone/>
            </a:pPr>
            <a:endParaRPr lang="en-US" dirty="0"/>
          </a:p>
          <a:p>
            <a:pPr lvl="3"/>
            <a:r>
              <a:rPr lang="en-US" dirty="0"/>
              <a:t>Application-managed</a:t>
            </a:r>
          </a:p>
          <a:p>
            <a:pPr lvl="4"/>
            <a:r>
              <a:rPr lang="en-US" dirty="0" err="1"/>
              <a:t>LocalEntityManagerFactoryBean</a:t>
            </a:r>
            <a:endParaRPr lang="en-US" dirty="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fontScale="90000"/>
          </a:bodyPr>
          <a:lstStyle/>
          <a:p>
            <a:r>
              <a:rPr lang="en-US" altLang="en-US" dirty="0"/>
              <a:t>Spring JPA Integration Steps –</a:t>
            </a:r>
            <a:br>
              <a:rPr lang="en-US" altLang="en-US" dirty="0"/>
            </a:br>
            <a:r>
              <a:rPr lang="en-US" altLang="en-US" dirty="0"/>
              <a:t>                        </a:t>
            </a:r>
            <a:r>
              <a:rPr lang="en-US" dirty="0" err="1"/>
              <a:t>EntityManagerFactory</a:t>
            </a:r>
            <a:r>
              <a:rPr lang="en-US" dirty="0"/>
              <a:t> configuration</a:t>
            </a:r>
          </a:p>
        </p:txBody>
      </p:sp>
      <p:sp>
        <p:nvSpPr>
          <p:cNvPr id="4" name="Content Placeholder 3"/>
          <p:cNvSpPr>
            <a:spLocks noGrp="1"/>
          </p:cNvSpPr>
          <p:nvPr>
            <p:ph idx="1"/>
          </p:nvPr>
        </p:nvSpPr>
        <p:spPr>
          <a:xfrm>
            <a:off x="298516" y="1238492"/>
            <a:ext cx="8845484" cy="4900026"/>
          </a:xfrm>
        </p:spPr>
        <p:txBody>
          <a:bodyPr/>
          <a:lstStyle/>
          <a:p>
            <a:endParaRPr lang="en-US" dirty="0"/>
          </a:p>
          <a:p>
            <a:r>
              <a:rPr lang="en-US" dirty="0"/>
              <a:t>Container-managed </a:t>
            </a:r>
            <a:r>
              <a:rPr lang="en-US" dirty="0" err="1"/>
              <a:t>EntityManagerFactory</a:t>
            </a:r>
            <a:endParaRPr lang="en-US" dirty="0"/>
          </a:p>
          <a:p>
            <a:endParaRPr lang="en-US" dirty="0"/>
          </a:p>
          <a:p>
            <a:pPr lvl="1"/>
            <a:r>
              <a:rPr lang="en-US" dirty="0"/>
              <a:t>Configured using </a:t>
            </a:r>
            <a:r>
              <a:rPr lang="en-US" dirty="0" err="1"/>
              <a:t>LocalContainerEntityManagerFactoryBean</a:t>
            </a:r>
            <a:endParaRPr lang="en-US" dirty="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Spring JPA Integration Steps –</a:t>
            </a:r>
            <a:br>
              <a:rPr lang="en-US" altLang="en-US" dirty="0"/>
            </a:br>
            <a:r>
              <a:rPr lang="en-US" altLang="en-US" dirty="0"/>
              <a:t>                                  </a:t>
            </a:r>
            <a:r>
              <a:rPr lang="en-US" dirty="0" err="1"/>
              <a:t>TransactionManager</a:t>
            </a:r>
            <a:r>
              <a:rPr lang="en-US" dirty="0"/>
              <a:t> configuration</a:t>
            </a:r>
          </a:p>
        </p:txBody>
      </p:sp>
      <p:sp>
        <p:nvSpPr>
          <p:cNvPr id="4" name="Content Placeholder 3"/>
          <p:cNvSpPr>
            <a:spLocks noGrp="1"/>
          </p:cNvSpPr>
          <p:nvPr>
            <p:ph idx="1"/>
          </p:nvPr>
        </p:nvSpPr>
        <p:spPr/>
        <p:txBody>
          <a:bodyPr/>
          <a:lstStyle/>
          <a:p>
            <a:endParaRPr lang="en-US" dirty="0"/>
          </a:p>
          <a:p>
            <a:r>
              <a:rPr lang="en-US" dirty="0"/>
              <a:t>Spring managed transaction </a:t>
            </a:r>
            <a:r>
              <a:rPr lang="en-US" dirty="0" err="1"/>
              <a:t>maangement</a:t>
            </a:r>
            <a:r>
              <a:rPr lang="en-US" dirty="0"/>
              <a:t>:</a:t>
            </a:r>
          </a:p>
          <a:p>
            <a:endParaRPr lang="en-US" dirty="0"/>
          </a:p>
          <a:p>
            <a:pPr lvl="1"/>
            <a:r>
              <a:rPr lang="en-US" dirty="0"/>
              <a:t>  Configured 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 ds:uri="26bed2a0-a239-4228-bd8e-b46f54fc12da"/>
  </ds:schemaRefs>
</ds:datastoreItem>
</file>

<file path=customXml/itemProps3.xml><?xml version="1.0" encoding="utf-8"?>
<ds:datastoreItem xmlns:ds="http://schemas.openxmlformats.org/officeDocument/2006/customXml" ds:itemID="{615898B6-B2E6-4E94-B030-89E925B7C2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06</TotalTime>
  <Words>1952</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ndara</vt:lpstr>
      <vt:lpstr>Trebuchet MS</vt:lpstr>
      <vt:lpstr>Verdana</vt:lpstr>
      <vt:lpstr>Wingdings</vt:lpstr>
      <vt:lpstr>Wingdings 3</vt:lpstr>
      <vt:lpstr>2_Corporate Presentation Template (4x3 - Normal)</vt:lpstr>
      <vt:lpstr>Section slides</vt:lpstr>
      <vt:lpstr>Facet</vt:lpstr>
      <vt:lpstr>think-cell Slide</vt:lpstr>
      <vt:lpstr>Basic Spring 5.0</vt:lpstr>
      <vt:lpstr>Lesson Objectives</vt:lpstr>
      <vt:lpstr>Spring Support for JPA -Spring JPA Integration : Overview</vt:lpstr>
      <vt:lpstr>Spring Support for JPA -Why JPA with Spring?</vt:lpstr>
      <vt:lpstr>Implementing Spring JPA Integration -Steps for Spring JPA Integration</vt:lpstr>
      <vt:lpstr>Spring JPA Integration Steps -Creating or looking up for DataSource</vt:lpstr>
      <vt:lpstr>Spring JPA Integration Steps -Spring JPA                                                         Configuration</vt:lpstr>
      <vt:lpstr>Spring JPA Integration Steps –                         EntityManagerFactory configuration</vt:lpstr>
      <vt:lpstr>Spring JPA Integration Steps –                                   TransactionManager configuration</vt:lpstr>
      <vt:lpstr>Spring JPA Integration Steps -Obtaining EntityManager</vt:lpstr>
      <vt:lpstr>Spring JPA Integration -Demo</vt:lpstr>
      <vt:lpstr>Spring Data JPA - Spring Data JPA</vt:lpstr>
      <vt:lpstr>Spring DATA JPA -Working with Spring Data JPA</vt:lpstr>
      <vt:lpstr>Spring Data JPA -Demo</vt:lpstr>
      <vt:lpstr>Lab</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R, Naveen Kumar</cp:lastModifiedBy>
  <cp:revision>263</cp:revision>
  <dcterms:created xsi:type="dcterms:W3CDTF">2012-05-18T02:59:15Z</dcterms:created>
  <dcterms:modified xsi:type="dcterms:W3CDTF">2022-01-24T05:2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